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2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4.xml" ContentType="application/vnd.openxmlformats-officedocument.theme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5.xml" ContentType="application/vnd.openxmlformats-officedocument.theme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theme/theme6.xml" ContentType="application/vnd.openxmlformats-officedocument.theme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962" r:id="rId1"/>
    <p:sldMasterId id="2147483963" r:id="rId2"/>
    <p:sldMasterId id="2147484014" r:id="rId3"/>
    <p:sldMasterId id="2147484070" r:id="rId4"/>
    <p:sldMasterId id="2147484089" r:id="rId5"/>
    <p:sldMasterId id="2147484144" r:id="rId6"/>
    <p:sldMasterId id="2147484195" r:id="rId7"/>
  </p:sldMasterIdLst>
  <p:notesMasterIdLst>
    <p:notesMasterId r:id="rId19"/>
  </p:notesMasterIdLst>
  <p:handoutMasterIdLst>
    <p:handoutMasterId r:id="rId20"/>
  </p:handoutMasterIdLst>
  <p:sldIdLst>
    <p:sldId id="2147472004" r:id="rId8"/>
    <p:sldId id="2147479428" r:id="rId9"/>
    <p:sldId id="390" r:id="rId10"/>
    <p:sldId id="419" r:id="rId11"/>
    <p:sldId id="505" r:id="rId12"/>
    <p:sldId id="2147483620" r:id="rId13"/>
    <p:sldId id="2147483625" r:id="rId14"/>
    <p:sldId id="2147483623" r:id="rId15"/>
    <p:sldId id="2147479429" r:id="rId16"/>
    <p:sldId id="444" r:id="rId17"/>
    <p:sldId id="2147483617" r:id="rId18"/>
  </p:sldIdLst>
  <p:sldSz cx="24387175" cy="13716000"/>
  <p:notesSz cx="6858000" cy="9144000"/>
  <p:embeddedFontLst>
    <p:embeddedFont>
      <p:font typeface="IBM Plex Sans" panose="020B0503050203000203" pitchFamily="34" charset="0"/>
      <p:regular r:id="rId21"/>
      <p:bold r:id="rId22"/>
      <p:italic r:id="rId23"/>
      <p:boldItalic r:id="rId24"/>
    </p:embeddedFont>
    <p:embeddedFont>
      <p:font typeface="IBM Plex Sans ExtLt" panose="020B0303050203000203" pitchFamily="34" charset="0"/>
      <p:regular r:id="rId25"/>
      <p:italic r:id="rId26"/>
    </p:embeddedFont>
    <p:embeddedFont>
      <p:font typeface="IBM Plex Sans Light" panose="020B0403050203000203" pitchFamily="34" charset="0"/>
      <p:regular r:id="rId27"/>
      <p:italic r:id="rId28"/>
    </p:embeddedFont>
    <p:embeddedFont>
      <p:font typeface="IBM Plex Sans Medm" panose="020B0503050203000203" pitchFamily="34" charset="0"/>
      <p:regular r:id="rId29"/>
      <p:italic r:id="rId30"/>
    </p:embeddedFont>
    <p:embeddedFont>
      <p:font typeface="IBM Plex Sans SmBld" panose="020B0503050203000203" pitchFamily="34" charset="0"/>
      <p:regular r:id="rId31"/>
      <p:bold r:id="rId32"/>
      <p:italic r:id="rId33"/>
      <p:boldItalic r:id="rId34"/>
    </p:embeddedFont>
    <p:embeddedFont>
      <p:font typeface="IBM Plex Sans Text" panose="020B0503050203000203" pitchFamily="34" charset="0"/>
      <p:regular r:id="rId35"/>
      <p:italic r:id="rId36"/>
    </p:embeddedFont>
    <p:embeddedFont>
      <p:font typeface="IBM Plex Sans Thin" panose="020B0203050203000203" pitchFamily="34" charset="0"/>
      <p:regular r:id="rId37"/>
      <p:italic r:id="rId38"/>
    </p:embeddedFont>
  </p:embeddedFontLst>
  <p:defaultTextStyle>
    <a:defPPr>
      <a:defRPr lang="en-US"/>
    </a:defPPr>
    <a:lvl1pPr marL="0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688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9379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4068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8759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3447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8138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402827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7518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517BC662-032D-7F40-8684-F821FD1DCDB9}">
          <p14:sldIdLst>
            <p14:sldId id="2147472004"/>
            <p14:sldId id="2147479428"/>
          </p14:sldIdLst>
        </p14:section>
        <p14:section name="IBM, who?" id="{A52CE07F-6614-9040-989B-053292287DB1}">
          <p14:sldIdLst>
            <p14:sldId id="390"/>
            <p14:sldId id="419"/>
            <p14:sldId id="505"/>
          </p14:sldIdLst>
        </p14:section>
        <p14:section name="Career @ IBM" id="{B2605F27-B704-1D44-B845-6C452AF92910}">
          <p14:sldIdLst>
            <p14:sldId id="2147483620"/>
          </p14:sldIdLst>
        </p14:section>
        <p14:section name="Free access to technology" id="{77A3C113-A8BE-B84F-87AA-5B55DB1B7E28}">
          <p14:sldIdLst>
            <p14:sldId id="2147483625"/>
          </p14:sldIdLst>
        </p14:section>
        <p14:section name="Challenge" id="{1DA524F9-9112-D94C-98AA-52C52C80C92E}">
          <p14:sldIdLst>
            <p14:sldId id="2147483623"/>
            <p14:sldId id="2147479429"/>
          </p14:sldIdLst>
        </p14:section>
        <p14:section name="Wrap up" id="{8B20A69B-51CB-7249-8EC8-61EC846B0468}">
          <p14:sldIdLst>
            <p14:sldId id="444"/>
            <p14:sldId id="214748361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9BAC61F-84F8-3334-1D7A-97B1CC08D159}" name="Julia Behrendt" initials="JB" userId="+zeoW1KnFOUnt5EP4EkeRzIzxAB9WKLfm4O9BMilqhQ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chary Anderson" initials="ZA" lastIdx="26" clrIdx="0">
    <p:extLst>
      <p:ext uri="{19B8F6BF-5375-455C-9EA6-DF929625EA0E}">
        <p15:presenceInfo xmlns:p15="http://schemas.microsoft.com/office/powerpoint/2012/main" userId="S::zanderson@vsapartners.com::b6da4b55-2f36-4779-ba8b-606d779a32e3" providerId="AD"/>
      </p:ext>
    </p:extLst>
  </p:cmAuthor>
  <p:cmAuthor id="2" name="Liz Sadler" initials="LS" lastIdx="36" clrIdx="1">
    <p:extLst>
      <p:ext uri="{19B8F6BF-5375-455C-9EA6-DF929625EA0E}">
        <p15:presenceInfo xmlns:p15="http://schemas.microsoft.com/office/powerpoint/2012/main" userId="Liz Sadl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F3F2"/>
    <a:srgbClr val="FFFFFF"/>
    <a:srgbClr val="002B9C"/>
    <a:srgbClr val="002C9C"/>
    <a:srgbClr val="DAFBFC"/>
    <a:srgbClr val="E4F6FF"/>
    <a:srgbClr val="000000"/>
    <a:srgbClr val="0E62FE"/>
    <a:srgbClr val="D4BBFF"/>
    <a:srgbClr val="14BA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519"/>
    <p:restoredTop sz="86210"/>
  </p:normalViewPr>
  <p:slideViewPr>
    <p:cSldViewPr snapToGrid="0" snapToObjects="1">
      <p:cViewPr>
        <p:scale>
          <a:sx n="41" d="100"/>
          <a:sy n="41" d="100"/>
        </p:scale>
        <p:origin x="2008" y="40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22" d="100"/>
          <a:sy n="122" d="100"/>
        </p:scale>
        <p:origin x="4136" y="19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font" Target="fonts/font6.fntdata"/><Relationship Id="rId39" Type="http://schemas.openxmlformats.org/officeDocument/2006/relationships/commentAuthors" Target="commentAuthors.xml"/><Relationship Id="rId21" Type="http://schemas.openxmlformats.org/officeDocument/2006/relationships/font" Target="fonts/font1.fntdata"/><Relationship Id="rId34" Type="http://schemas.openxmlformats.org/officeDocument/2006/relationships/font" Target="fonts/font14.fntdata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handoutMaster" Target="handoutMasters/handoutMaster1.xml"/><Relationship Id="rId29" Type="http://schemas.openxmlformats.org/officeDocument/2006/relationships/font" Target="fonts/font9.fntdata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font" Target="fonts/font4.fntdata"/><Relationship Id="rId32" Type="http://schemas.openxmlformats.org/officeDocument/2006/relationships/font" Target="fonts/font12.fntdata"/><Relationship Id="rId37" Type="http://schemas.openxmlformats.org/officeDocument/2006/relationships/font" Target="fonts/font17.fntdata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font" Target="fonts/font3.fntdata"/><Relationship Id="rId28" Type="http://schemas.openxmlformats.org/officeDocument/2006/relationships/font" Target="fonts/font8.fntdata"/><Relationship Id="rId36" Type="http://schemas.openxmlformats.org/officeDocument/2006/relationships/font" Target="fonts/font16.fntdata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31" Type="http://schemas.openxmlformats.org/officeDocument/2006/relationships/font" Target="fonts/font11.fntdata"/><Relationship Id="rId44" Type="http://schemas.microsoft.com/office/2018/10/relationships/authors" Target="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font" Target="fonts/font2.fntdata"/><Relationship Id="rId27" Type="http://schemas.openxmlformats.org/officeDocument/2006/relationships/font" Target="fonts/font7.fntdata"/><Relationship Id="rId30" Type="http://schemas.openxmlformats.org/officeDocument/2006/relationships/font" Target="fonts/font10.fntdata"/><Relationship Id="rId35" Type="http://schemas.openxmlformats.org/officeDocument/2006/relationships/font" Target="fonts/font15.fntdata"/><Relationship Id="rId43" Type="http://schemas.openxmlformats.org/officeDocument/2006/relationships/tableStyles" Target="tableStyles.xml"/><Relationship Id="rId8" Type="http://schemas.openxmlformats.org/officeDocument/2006/relationships/slide" Target="slides/slid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font" Target="fonts/font5.fntdata"/><Relationship Id="rId33" Type="http://schemas.openxmlformats.org/officeDocument/2006/relationships/font" Target="fonts/font13.fntdata"/><Relationship Id="rId38" Type="http://schemas.openxmlformats.org/officeDocument/2006/relationships/font" Target="fonts/font18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pPr algn="l"/>
            <a:fld id="{614B4878-71CB-8F40-B9DD-F26F1F6CA014}" type="slidenum">
              <a:rPr lang="en-US" sz="600" smtClean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pPr algn="l"/>
              <a:t>‹Nr.›</a:t>
            </a:fld>
            <a:endParaRPr lang="en-US" sz="600">
              <a:solidFill>
                <a:schemeClr val="bg1"/>
              </a:solidFill>
              <a:latin typeface="IBM Plex Sans Light" panose="020B0503050203000203" pitchFamily="34" charset="0"/>
              <a:ea typeface="IBM Plex Sans Light" charset="0"/>
              <a:cs typeface="IBM Plex Sans Light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60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480278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6710" y="228600"/>
            <a:ext cx="6419088" cy="3612324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6ABF5568-9620-E34F-9423-054ABD0598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206710" y="4087090"/>
            <a:ext cx="6419088" cy="432030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0021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fld id="{6E2E38B8-B0B4-AD41-AC6E-B781F46A9FD3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1945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79159858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2438522" rtl="0" eaLnBrk="1" latinLnBrk="0" hangingPunct="1">
      <a:lnSpc>
        <a:spcPct val="110000"/>
      </a:lnSpc>
      <a:spcBef>
        <a:spcPts val="0"/>
      </a:spcBef>
      <a:defRPr sz="16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1pPr>
    <a:lvl2pPr marL="465690" indent="-452991" algn="l" defTabSz="2438522" rtl="0" eaLnBrk="1" latinLnBrk="0" hangingPunct="1">
      <a:lnSpc>
        <a:spcPct val="110000"/>
      </a:lnSpc>
      <a:spcBef>
        <a:spcPts val="0"/>
      </a:spcBef>
      <a:buFont typeface="IBM Plex Sans"/>
      <a:buChar char="–"/>
      <a:tabLst/>
      <a:defRPr sz="16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2pPr>
    <a:lvl3pPr marL="926638" indent="-463319" algn="l" defTabSz="2438522" rtl="0" eaLnBrk="1" latinLnBrk="0" hangingPunct="1">
      <a:lnSpc>
        <a:spcPct val="110000"/>
      </a:lnSpc>
      <a:spcBef>
        <a:spcPts val="0"/>
      </a:spcBef>
      <a:buFont typeface="IBM Plex Sans Light" panose="020B0604020202020204" pitchFamily="34" charset="0"/>
      <a:buChar char="•"/>
      <a:tabLst/>
      <a:defRPr sz="16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3pPr>
    <a:lvl4pPr marL="1682580" indent="-463319" algn="l" defTabSz="2438522" rtl="0" eaLnBrk="1" latinLnBrk="0" hangingPunct="1">
      <a:lnSpc>
        <a:spcPct val="110000"/>
      </a:lnSpc>
      <a:spcBef>
        <a:spcPts val="0"/>
      </a:spcBef>
      <a:buFont typeface="IBM Plex Sans Light"/>
      <a:buChar char="–"/>
      <a:tabLst/>
      <a:defRPr sz="16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4pPr>
    <a:lvl5pPr marL="465690" marR="0" indent="-452991" algn="l" defTabSz="2438522" rtl="0" eaLnBrk="1" fontAlgn="base" latinLnBrk="0" hangingPunct="1">
      <a:lnSpc>
        <a:spcPct val="100000"/>
      </a:lnSpc>
      <a:spcBef>
        <a:spcPts val="1600"/>
      </a:spcBef>
      <a:spcAft>
        <a:spcPct val="0"/>
      </a:spcAft>
      <a:buClr>
        <a:srgbClr val="000000"/>
      </a:buClr>
      <a:buSzTx/>
      <a:buFont typeface="IBM Plex Sans Light" charset="-120"/>
      <a:buChar char="»"/>
      <a:tabLst/>
      <a:defRPr sz="2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5pPr>
    <a:lvl6pPr marL="6096305" algn="l" defTabSz="2438522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6pPr>
    <a:lvl7pPr marL="7315566" algn="l" defTabSz="2438522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7pPr>
    <a:lvl8pPr marL="8534827" algn="l" defTabSz="2438522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8pPr>
    <a:lvl9pPr marL="9754088" algn="l" defTabSz="2438522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8955274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74613" y="249238"/>
            <a:ext cx="6981826" cy="39274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>
              <a:highlight>
                <a:srgbClr val="FFFF0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9DAAB2-0CD2-2D4D-9606-0FB14DC2535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24486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vid</a:t>
            </a:r>
          </a:p>
        </p:txBody>
      </p:sp>
    </p:spTree>
    <p:extLst>
      <p:ext uri="{BB962C8B-B14F-4D97-AF65-F5344CB8AC3E}">
        <p14:creationId xmlns:p14="http://schemas.microsoft.com/office/powerpoint/2010/main" val="25923073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74613" y="249238"/>
            <a:ext cx="6981826" cy="39274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2E38B8-B0B4-AD41-AC6E-B781F46A9FD3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</a:rPr>
              <a:pPr marL="0" marR="0" lvl="0" indent="0" algn="r" defTabSz="182937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 panose="020B050305020300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2710905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19 / © 2019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2351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19 / © 2019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06560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19 / © 2019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0017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0908562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8723296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5ECEB8-F096-F63E-81AF-78B2B53B34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3594676-D7B2-0093-77D9-82CE2A5CA2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AC085C9-99B6-47FA-1036-44160072D8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7D83E35-8B6B-6AF6-EDBC-94853DC701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2E38B8-B0B4-AD41-AC6E-B781F46A9FD3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sym typeface="IBM Plex Sans Light"/>
              </a:rPr>
              <a:pPr marL="0" marR="0" lvl="0" indent="0" algn="l" defTabSz="182937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 panose="020B0503050203000203" pitchFamily="34" charset="0"/>
              <a:sym typeface="IBM Plex Sans Light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9D79F65-E6A4-B030-D5FF-1E6B81C8C2F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sym typeface="IBM Plex Sans Light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6333750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5ECEB8-F096-F63E-81AF-78B2B53B34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3594676-D7B2-0093-77D9-82CE2A5CA2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AC085C9-99B6-47FA-1036-44160072D8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7D83E35-8B6B-6AF6-EDBC-94853DC701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2E38B8-B0B4-AD41-AC6E-B781F46A9FD3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sym typeface="IBM Plex Sans Light"/>
              </a:rPr>
              <a:pPr marL="0" marR="0" lvl="0" indent="0" algn="l" defTabSz="182937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 panose="020B0503050203000203" pitchFamily="34" charset="0"/>
              <a:sym typeface="IBM Plex Sans Light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9D79F65-E6A4-B030-D5FF-1E6B81C8C2F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sym typeface="IBM Plex Sans Light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6893894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gif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gif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gif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gif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.emf"/><Relationship Id="rId4" Type="http://schemas.openxmlformats.org/officeDocument/2006/relationships/image" Target="../media/image10.sv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.emf"/><Relationship Id="rId4" Type="http://schemas.openxmlformats.org/officeDocument/2006/relationships/image" Target="../media/image10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 descr="Place imagery here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24387175" cy="12001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6288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12088368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71501" y="12084739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 descr="IBM 8-bar logo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95FFB4-2631-91CD-8C1B-A8D8C505D41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C9C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IBM Consulting / © IBM Corporation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AF4EC71-ECB2-27CF-20C9-38C80FDB2E4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23541592" y="12939014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6795180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9909175" cy="2859087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67252" y="448056"/>
            <a:ext cx="11042073" cy="8574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 marL="585216" indent="-585216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2pPr>
            <a:lvl3pPr marL="1097280" indent="-585216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3pPr>
            <a:lvl4pPr marL="1755648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06079"/>
      </p:ext>
    </p:extLst>
  </p:cSld>
  <p:clrMapOvr>
    <a:masterClrMapping/>
  </p:clrMapOvr>
  <p:transition spd="med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3942" y="1220"/>
            <a:ext cx="24359291" cy="13713555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BB51E2D-D463-9F48-8ABF-719541ACA1D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37119" y="12711941"/>
            <a:ext cx="3671947" cy="505712"/>
          </a:xfrm>
          <a:prstGeom prst="rect">
            <a:avLst/>
          </a:prstGeom>
        </p:spPr>
      </p:pic>
      <p:pic>
        <p:nvPicPr>
          <p:cNvPr id="12" name="Picture">
            <a:extLst>
              <a:ext uri="{FF2B5EF4-FFF2-40B4-BE49-F238E27FC236}">
                <a16:creationId xmlns:a16="http://schemas.microsoft.com/office/drawing/2014/main" id="{FB0DC53E-98CE-B848-B964-4903DA45F0F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22386417" y="12547341"/>
            <a:ext cx="1391080" cy="554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52231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3942" y="1219"/>
            <a:ext cx="24359291" cy="13713552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0A1397B-55BC-E147-B620-9642E50C6BB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37119" y="12711941"/>
            <a:ext cx="3671947" cy="505712"/>
          </a:xfrm>
          <a:prstGeom prst="rect">
            <a:avLst/>
          </a:prstGeom>
        </p:spPr>
      </p:pic>
      <p:pic>
        <p:nvPicPr>
          <p:cNvPr id="11" name="Picture">
            <a:extLst>
              <a:ext uri="{FF2B5EF4-FFF2-40B4-BE49-F238E27FC236}">
                <a16:creationId xmlns:a16="http://schemas.microsoft.com/office/drawing/2014/main" id="{BE8EDCBC-DC1B-5B4D-9932-9CD61C1422E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22386417" y="12547341"/>
            <a:ext cx="1391080" cy="554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21512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D9C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05146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33600"/>
          </a:xfrm>
        </p:spPr>
        <p:txBody>
          <a:bodyPr/>
          <a:lstStyle>
            <a:lvl1pPr>
              <a:defRPr>
                <a:solidFill>
                  <a:srgbClr val="002D9C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85292" y="3316224"/>
            <a:ext cx="10998616" cy="867257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rgbClr val="002D9C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rgbClr val="002D9C"/>
                </a:solidFill>
              </a:defRPr>
            </a:lvl2pPr>
            <a:lvl3pPr marL="537647" indent="0">
              <a:buNone/>
              <a:defRPr/>
            </a:lvl3pPr>
            <a:lvl4pPr marL="1159964" indent="0">
              <a:buNone/>
              <a:defRPr/>
            </a:lvl4pPr>
            <a:lvl5pPr marL="1684909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2778880" y="3316224"/>
            <a:ext cx="10998616" cy="867257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rgbClr val="002D9C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rgbClr val="002D9C"/>
                </a:solidFill>
              </a:defRPr>
            </a:lvl2pPr>
            <a:lvl3pPr marL="537647" indent="0">
              <a:buNone/>
              <a:defRPr/>
            </a:lvl3pPr>
            <a:lvl4pPr marL="1159964" indent="0">
              <a:buNone/>
              <a:defRPr/>
            </a:lvl4pPr>
            <a:lvl5pPr marL="1684909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99428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85292" y="585216"/>
            <a:ext cx="11023003" cy="2145792"/>
          </a:xfrm>
        </p:spPr>
        <p:txBody>
          <a:bodyPr/>
          <a:lstStyle>
            <a:lvl1pPr>
              <a:defRPr sz="4267">
                <a:solidFill>
                  <a:srgbClr val="002D9C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365807" y="3023616"/>
            <a:ext cx="11218101" cy="8965184"/>
          </a:xfrm>
        </p:spPr>
        <p:txBody>
          <a:bodyPr/>
          <a:lstStyle>
            <a:lvl1pPr>
              <a:lnSpc>
                <a:spcPct val="90000"/>
              </a:lnSpc>
              <a:defRPr sz="25600" b="0" i="0">
                <a:solidFill>
                  <a:srgbClr val="002D9C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50273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85292" y="585216"/>
            <a:ext cx="11023003" cy="2145792"/>
          </a:xfrm>
        </p:spPr>
        <p:txBody>
          <a:bodyPr/>
          <a:lstStyle>
            <a:lvl1pPr>
              <a:defRPr sz="4267" b="0" i="0">
                <a:solidFill>
                  <a:srgbClr val="002D9C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365807" y="3023616"/>
            <a:ext cx="11218101" cy="8965184"/>
          </a:xfrm>
        </p:spPr>
        <p:txBody>
          <a:bodyPr/>
          <a:lstStyle>
            <a:lvl1pPr>
              <a:lnSpc>
                <a:spcPct val="90000"/>
              </a:lnSpc>
              <a:defRPr sz="25600" b="0" i="0">
                <a:solidFill>
                  <a:srgbClr val="002D9C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12193587" y="0"/>
            <a:ext cx="12193588" cy="137160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4689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65810" y="243840"/>
            <a:ext cx="23411507" cy="11744960"/>
          </a:xfrm>
        </p:spPr>
        <p:txBody>
          <a:bodyPr/>
          <a:lstStyle>
            <a:lvl1pPr>
              <a:defRPr sz="25600" b="0" i="0">
                <a:solidFill>
                  <a:srgbClr val="002D9C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828277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9" y="536448"/>
            <a:ext cx="14835358" cy="11452352"/>
          </a:xfrm>
        </p:spPr>
        <p:txBody>
          <a:bodyPr/>
          <a:lstStyle>
            <a:lvl1pPr>
              <a:defRPr>
                <a:solidFill>
                  <a:srgbClr val="002D9C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576232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114523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2778880" y="536448"/>
            <a:ext cx="10998616" cy="114523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55969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85292" y="3316224"/>
            <a:ext cx="10998616" cy="86725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2778882" y="3316224"/>
            <a:ext cx="10998435" cy="86725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206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420624"/>
            <a:ext cx="14662150" cy="9717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603199"/>
      </p:ext>
    </p:extLst>
  </p:cSld>
  <p:clrMapOvr>
    <a:masterClrMapping/>
  </p:clrMapOvr>
  <p:transition spd="med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560905" y="3243072"/>
            <a:ext cx="11047390" cy="8745728"/>
          </a:xfrm>
        </p:spPr>
        <p:txBody>
          <a:bodyPr/>
          <a:lstStyle>
            <a:lvl1pPr>
              <a:defRPr sz="64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2778880" y="3316224"/>
            <a:ext cx="10998616" cy="86725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44637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585292" y="3316224"/>
            <a:ext cx="4901822" cy="86725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682086" y="3316224"/>
            <a:ext cx="4901822" cy="86725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12778880" y="3316224"/>
            <a:ext cx="4901822" cy="86725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18875674" y="3316224"/>
            <a:ext cx="4901822" cy="86725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60360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585292" y="3316224"/>
            <a:ext cx="10998616" cy="86725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12193587" y="0"/>
            <a:ext cx="12193588" cy="13716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239690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114523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12778880" y="536448"/>
            <a:ext cx="4901822" cy="114523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8875674" y="536448"/>
            <a:ext cx="4901822" cy="114523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96855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8" y="536448"/>
            <a:ext cx="11047209" cy="114523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193587" y="0"/>
            <a:ext cx="12193588" cy="13716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3200" b="0" i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2778880" y="536448"/>
            <a:ext cx="10998616" cy="11452352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271028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114523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12193587" y="0"/>
            <a:ext cx="12193588" cy="13716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075884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114523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50812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6862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585292" y="3316224"/>
            <a:ext cx="10998616" cy="86725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12193587" y="0"/>
            <a:ext cx="6096794" cy="6858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18290381" y="0"/>
            <a:ext cx="6096794" cy="6858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12193587" y="6853769"/>
            <a:ext cx="12193588" cy="6862232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12193588" y="626533"/>
            <a:ext cx="0" cy="11362267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18280871" y="626537"/>
            <a:ext cx="0" cy="564509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12781298" y="6853768"/>
            <a:ext cx="1097423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BA182ED-DF72-551B-BEDE-DA056E715F50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18280871" y="7431892"/>
            <a:ext cx="0" cy="564509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169252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2"/>
            <a:ext cx="12193588" cy="6858003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12193587" y="0"/>
            <a:ext cx="6096794" cy="6858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18290381" y="0"/>
            <a:ext cx="6096794" cy="6858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6853769"/>
            <a:ext cx="12193588" cy="6862232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12193587" y="6853769"/>
            <a:ext cx="12193588" cy="6862232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12193588" y="626533"/>
            <a:ext cx="0" cy="11362267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81" y="6845301"/>
            <a:ext cx="1097423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12781298" y="6845301"/>
            <a:ext cx="1097423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18284428" y="626537"/>
            <a:ext cx="0" cy="564509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32023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576072"/>
            <a:ext cx="7623175" cy="6288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72" y="9299448"/>
            <a:ext cx="11050588" cy="35433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25800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cxnSp>
        <p:nvCxnSpPr>
          <p:cNvPr id="9" name="Straight Connector 8" descr="Vertical column divider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12193587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76072"/>
            <a:ext cx="7620000" cy="6288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763500" y="9296400"/>
            <a:ext cx="11049000" cy="35433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25800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7478196"/>
      </p:ext>
    </p:extLst>
  </p:cSld>
  <p:clrMapOvr>
    <a:masterClrMapping/>
  </p:clrMapOvr>
  <p:transition spd="med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2"/>
            <a:ext cx="24387175" cy="6851901"/>
          </a:xfrm>
          <a:noFill/>
        </p:spPr>
        <p:txBody>
          <a:bodyPr lIns="182880" tIns="164592" rIns="228600" bIns="228600"/>
          <a:lstStyle>
            <a:lvl1pPr>
              <a:defRPr sz="128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6853769"/>
            <a:ext cx="6096794" cy="6862232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6096796" y="6853769"/>
            <a:ext cx="6096794" cy="6862232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12193587" y="6853765"/>
            <a:ext cx="6096794" cy="6862235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18290381" y="6853765"/>
            <a:ext cx="6096794" cy="6862235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096794" y="7444377"/>
            <a:ext cx="0" cy="4544424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12193588" y="7444377"/>
            <a:ext cx="0" cy="4544424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18290381" y="7444377"/>
            <a:ext cx="0" cy="4544424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609680" y="6858000"/>
            <a:ext cx="23167816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047179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24387175" cy="340360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3403600"/>
            <a:ext cx="24387175" cy="103124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61834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87175" cy="13728192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7" y="6858000"/>
            <a:ext cx="6096802" cy="685800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2667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2667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2667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2667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846729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6096794" cy="1372819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6096794" y="0"/>
            <a:ext cx="6096794" cy="1372819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12193587" y="0"/>
            <a:ext cx="6096794" cy="1372819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18290381" y="0"/>
            <a:ext cx="6096794" cy="1372819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12193588" y="626533"/>
            <a:ext cx="0" cy="11362267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6090844" y="626533"/>
            <a:ext cx="0" cy="11362267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18284431" y="626533"/>
            <a:ext cx="0" cy="11362267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557366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585292" y="3316224"/>
            <a:ext cx="4901822" cy="86725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6706473" y="3316224"/>
            <a:ext cx="17071023" cy="86725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451395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585292" y="3316224"/>
            <a:ext cx="4901822" cy="86725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13621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85292" y="3316224"/>
            <a:ext cx="4901822" cy="86725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682086" y="3359003"/>
            <a:ext cx="4901822" cy="8672576"/>
          </a:xfrm>
        </p:spPr>
        <p:txBody>
          <a:bodyPr/>
          <a:lstStyle>
            <a:lvl1pPr>
              <a:spcBef>
                <a:spcPts val="800"/>
              </a:spcBef>
              <a:defRPr sz="3733">
                <a:solidFill>
                  <a:schemeClr val="tx1"/>
                </a:solidFill>
              </a:defRPr>
            </a:lvl1pPr>
            <a:lvl2pPr>
              <a:spcBef>
                <a:spcPts val="2933"/>
              </a:spcBef>
              <a:defRPr sz="3733">
                <a:solidFill>
                  <a:schemeClr val="tx1"/>
                </a:solidFill>
              </a:defRPr>
            </a:lvl2pPr>
            <a:lvl3pPr>
              <a:spcBef>
                <a:spcPts val="2933"/>
              </a:spcBef>
              <a:defRPr sz="3733">
                <a:solidFill>
                  <a:schemeClr val="tx1"/>
                </a:solidFill>
              </a:defRPr>
            </a:lvl3pPr>
            <a:lvl4pPr>
              <a:spcBef>
                <a:spcPts val="2933"/>
              </a:spcBef>
              <a:defRPr sz="3733">
                <a:solidFill>
                  <a:schemeClr val="tx1"/>
                </a:solidFill>
              </a:defRPr>
            </a:lvl4pPr>
            <a:lvl5pPr>
              <a:spcBef>
                <a:spcPts val="2933"/>
              </a:spcBef>
              <a:defRPr sz="3733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12193587" y="0"/>
            <a:ext cx="12193588" cy="13716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247467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585292" y="3316224"/>
            <a:ext cx="4901822" cy="86725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682086" y="3367024"/>
            <a:ext cx="4901822" cy="8672576"/>
          </a:xfrm>
        </p:spPr>
        <p:txBody>
          <a:bodyPr/>
          <a:lstStyle>
            <a:lvl1pPr>
              <a:spcBef>
                <a:spcPts val="800"/>
              </a:spcBef>
              <a:defRPr sz="2667">
                <a:solidFill>
                  <a:schemeClr val="tx1"/>
                </a:solidFill>
              </a:defRPr>
            </a:lvl1pPr>
            <a:lvl2pPr>
              <a:spcBef>
                <a:spcPts val="800"/>
              </a:spcBef>
              <a:defRPr sz="2667">
                <a:solidFill>
                  <a:schemeClr val="tx1"/>
                </a:solidFill>
              </a:defRPr>
            </a:lvl2pPr>
            <a:lvl3pPr>
              <a:spcBef>
                <a:spcPts val="800"/>
              </a:spcBef>
              <a:defRPr sz="2667">
                <a:solidFill>
                  <a:schemeClr val="tx1"/>
                </a:solidFill>
              </a:defRPr>
            </a:lvl3pPr>
            <a:lvl4pPr>
              <a:spcBef>
                <a:spcPts val="800"/>
              </a:spcBef>
              <a:defRPr sz="2667">
                <a:solidFill>
                  <a:schemeClr val="tx1"/>
                </a:solidFill>
              </a:defRPr>
            </a:lvl4pPr>
            <a:lvl5pPr>
              <a:spcBef>
                <a:spcPts val="800"/>
              </a:spcBef>
              <a:defRPr sz="2667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12730105" y="3243072"/>
            <a:ext cx="11047390" cy="8745728"/>
          </a:xfrm>
        </p:spPr>
        <p:txBody>
          <a:bodyPr/>
          <a:lstStyle>
            <a:lvl1pPr>
              <a:defRPr sz="6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09976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585292" y="536448"/>
            <a:ext cx="4901822" cy="114523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6682089" y="536448"/>
            <a:ext cx="17095228" cy="11452352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icon to add table</a:t>
            </a:r>
            <a:endParaRPr lang="en-US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31428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3140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67500" y="429768"/>
            <a:ext cx="4951413" cy="1907912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2333068"/>
            <a:ext cx="4951413" cy="967304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768263" y="426481"/>
            <a:ext cx="4949825" cy="1906588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2334654"/>
            <a:ext cx="4953000" cy="966684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859500" y="429654"/>
            <a:ext cx="4949825" cy="1903413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2333067"/>
            <a:ext cx="4953000" cy="966684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2042775"/>
            <a:ext cx="4951413" cy="11430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3368050"/>
      </p:ext>
    </p:extLst>
  </p:cSld>
  <p:clrMapOvr>
    <a:masterClrMapping/>
  </p:clrMapOvr>
  <p:transition spd="med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099119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85292" y="3364992"/>
            <a:ext cx="10998616" cy="3493008"/>
          </a:xfrm>
        </p:spPr>
        <p:txBody>
          <a:bodyPr/>
          <a:lstStyle>
            <a:lvl1pPr>
              <a:spcBef>
                <a:spcPts val="0"/>
              </a:spcBef>
              <a:defRPr sz="2667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537647" indent="0">
              <a:buNone/>
              <a:defRPr/>
            </a:lvl3pPr>
            <a:lvl4pPr marL="1159964" indent="0">
              <a:buNone/>
              <a:defRPr/>
            </a:lvl4pPr>
            <a:lvl5pPr marL="1684909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5292" y="8558784"/>
            <a:ext cx="17095410" cy="3486912"/>
          </a:xfrm>
        </p:spPr>
        <p:txBody>
          <a:bodyPr anchor="b"/>
          <a:lstStyle>
            <a:lvl1pPr>
              <a:spcBef>
                <a:spcPts val="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14073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imated Rebus sign-off (red4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BE30253-DA74-3E44-9BC6-8B5C1DD668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24387175" cy="137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03642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imated Rebus sign-off (yellow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5EEBA7C-F498-524A-9427-6358C4846A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24387175" cy="137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24187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imated Rebus sign-off (red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AF54E53-3A23-9A4B-B6FC-E1BD369164D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24387175" cy="137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38700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imated Rebus sign-off (teal4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C727A0-1A17-074E-8354-E327AC2DBC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24387175" cy="137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74971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imated Rebus sign-off (grey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5835D96-8926-B845-B252-0835183F21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24387175" cy="137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5353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c Rebus sign-off (red4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9A8F4BF4-3AA1-0047-B77A-5F3E5D5878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21598" y="3545323"/>
            <a:ext cx="4112461" cy="6574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07930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c Rebus sign-off (yellow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9A8F4BF4-3AA1-0047-B77A-5F3E5D5878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21598" y="3545323"/>
            <a:ext cx="4112461" cy="6574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56827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c Rebus sign-off (red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9A8F4BF4-3AA1-0047-B77A-5F3E5D5878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21598" y="3545323"/>
            <a:ext cx="4112461" cy="6574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016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4675" y="402336"/>
            <a:ext cx="4949825" cy="5335588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402336"/>
            <a:ext cx="11049000" cy="53355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1pPr>
            <a:lvl2pPr marL="786384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2pPr>
            <a:lvl3pPr marL="1499616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3pPr>
            <a:lvl4pPr marL="2286000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0" name="Straight Connector 9" descr="Horizontal row divider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56832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4675" y="6477000"/>
            <a:ext cx="4949825" cy="5334000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7500" y="6477000"/>
            <a:ext cx="11049000" cy="533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1pPr>
            <a:lvl2pPr marL="786384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2pPr>
            <a:lvl3pPr marL="1499616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3pPr>
            <a:lvl4pPr marL="2286000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764434"/>
      </p:ext>
    </p:extLst>
  </p:cSld>
  <p:clrMapOvr>
    <a:masterClrMapping/>
  </p:clrMapOvr>
  <p:transition spd="med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c Rebus sign-off (teal4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9A8F4BF4-3AA1-0047-B77A-5F3E5D5878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21598" y="3545323"/>
            <a:ext cx="4112461" cy="6574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80779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c Rebus sign-off (grey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9A8F4BF4-3AA1-0047-B77A-5F3E5D5878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21598" y="3545323"/>
            <a:ext cx="4112461" cy="6574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1786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463224" y="6167695"/>
            <a:ext cx="3460728" cy="1380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745835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">
            <a:extLst>
              <a:ext uri="{FF2B5EF4-FFF2-40B4-BE49-F238E27FC236}">
                <a16:creationId xmlns:a16="http://schemas.microsoft.com/office/drawing/2014/main" id="{84C5BA58-3252-EE40-9CFE-7EA0CFC343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463224" y="6167695"/>
            <a:ext cx="3460728" cy="1380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35067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463221" y="6167693"/>
            <a:ext cx="3460733" cy="138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69909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762099" y="762000"/>
            <a:ext cx="10669389" cy="11430000"/>
          </a:xfrm>
        </p:spPr>
        <p:txBody>
          <a:bodyPr/>
          <a:lstStyle>
            <a:lvl1pPr>
              <a:defRPr sz="53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2955687" y="762000"/>
            <a:ext cx="10669389" cy="11452352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F2805C5-8A37-D940-A85E-4E47EC5E6F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2980" y="13151579"/>
            <a:ext cx="768839" cy="310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11803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BV divider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99" y="762001"/>
            <a:ext cx="17567871" cy="5715000"/>
          </a:xfrm>
        </p:spPr>
        <p:txBody>
          <a:bodyPr>
            <a:noAutofit/>
          </a:bodyPr>
          <a:lstStyle>
            <a:lvl1pPr>
              <a:defRPr sz="14667" b="0" i="0">
                <a:solidFill>
                  <a:schemeClr val="accent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072136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. 1/4 Cyan10 White-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E7A91E8-27A9-964C-8402-CAA5D6AE9A76}"/>
              </a:ext>
            </a:extLst>
          </p:cNvPr>
          <p:cNvSpPr/>
          <p:nvPr userDrawn="1"/>
        </p:nvSpPr>
        <p:spPr>
          <a:xfrm>
            <a:off x="-1" y="0"/>
            <a:ext cx="6096796" cy="13716000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51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7A7C1D1-E1CB-1742-A3BF-94023278D3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103" y="1778001"/>
            <a:ext cx="4953645" cy="1752600"/>
          </a:xfrm>
        </p:spPr>
        <p:txBody>
          <a:bodyPr lIns="0" tIns="0" rIns="0" bIns="0" anchor="t" anchorCtr="0">
            <a:noAutofit/>
          </a:bodyPr>
          <a:lstStyle>
            <a:lvl1pPr>
              <a:defRPr sz="5333">
                <a:solidFill>
                  <a:srgbClr val="00114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4D69191-E751-6A44-8799-858D837B74D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62103" y="5791728"/>
            <a:ext cx="4953645" cy="5943600"/>
          </a:xfrm>
        </p:spPr>
        <p:txBody>
          <a:bodyPr lIns="0" tIns="0" rIns="0" bIns="0"/>
          <a:lstStyle>
            <a:lvl1pPr marL="0" indent="0">
              <a:buNone/>
              <a:defRPr sz="3333">
                <a:solidFill>
                  <a:srgbClr val="001141"/>
                </a:solidFill>
              </a:defRPr>
            </a:lvl1pPr>
            <a:lvl2pPr marL="762010" indent="0">
              <a:buNone/>
              <a:defRPr sz="2333"/>
            </a:lvl2pPr>
            <a:lvl3pPr marL="1524019" indent="0">
              <a:buNone/>
              <a:defRPr sz="2000"/>
            </a:lvl3pPr>
            <a:lvl4pPr marL="2286029" indent="0">
              <a:buNone/>
              <a:defRPr sz="1667"/>
            </a:lvl4pPr>
            <a:lvl5pPr marL="3048038" indent="0">
              <a:buNone/>
              <a:defRPr sz="1667"/>
            </a:lvl5pPr>
            <a:lvl6pPr marL="3810048" indent="0">
              <a:buNone/>
              <a:defRPr sz="1667"/>
            </a:lvl6pPr>
            <a:lvl7pPr marL="4572057" indent="0">
              <a:buNone/>
              <a:defRPr sz="1667"/>
            </a:lvl7pPr>
            <a:lvl8pPr marL="5334067" indent="0">
              <a:buNone/>
              <a:defRPr sz="1667"/>
            </a:lvl8pPr>
            <a:lvl9pPr marL="6096076" indent="0">
              <a:buNone/>
              <a:defRPr sz="1667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3BC186D-71D1-CB40-8C66-6710445C91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2100" y="762001"/>
            <a:ext cx="11050439" cy="381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333"/>
              </a:spcAft>
              <a:buNone/>
              <a:defRPr sz="2000" b="0" i="0">
                <a:solidFill>
                  <a:srgbClr val="001141"/>
                </a:solidFill>
                <a:latin typeface="IBM Plex Sans Medm" panose="020B0503050203000203" pitchFamily="34" charset="0"/>
              </a:defRPr>
            </a:lvl1pPr>
            <a:lvl2pPr>
              <a:defRPr sz="1333" b="0" i="0">
                <a:latin typeface="IBM Plex Sans Medm" panose="020B0503050203000203" pitchFamily="34" charset="0"/>
              </a:defRPr>
            </a:lvl2pPr>
            <a:lvl3pPr>
              <a:defRPr sz="1333" b="0" i="0">
                <a:latin typeface="IBM Plex Sans Medm" panose="020B0503050203000203" pitchFamily="34" charset="0"/>
              </a:defRPr>
            </a:lvl3pPr>
            <a:lvl4pPr>
              <a:defRPr sz="1333" b="0" i="0">
                <a:latin typeface="IBM Plex Sans Medm" panose="020B0503050203000203" pitchFamily="34" charset="0"/>
              </a:defRPr>
            </a:lvl4pPr>
            <a:lvl5pPr>
              <a:defRPr sz="1333" b="0" i="0">
                <a:latin typeface="IBM Plex Sans Medm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E5112BF-C8FA-4B43-A207-692D4CB81E27}"/>
              </a:ext>
            </a:extLst>
          </p:cNvPr>
          <p:cNvGrpSpPr/>
          <p:nvPr userDrawn="1"/>
        </p:nvGrpSpPr>
        <p:grpSpPr>
          <a:xfrm>
            <a:off x="1323196" y="13218788"/>
            <a:ext cx="4980099" cy="367619"/>
            <a:chOff x="914400" y="7899655"/>
            <a:chExt cx="2987670" cy="220571"/>
          </a:xfrm>
        </p:grpSpPr>
        <p:sp>
          <p:nvSpPr>
            <p:cNvPr id="12" name="Footer Placeholder 3">
              <a:extLst>
                <a:ext uri="{FF2B5EF4-FFF2-40B4-BE49-F238E27FC236}">
                  <a16:creationId xmlns:a16="http://schemas.microsoft.com/office/drawing/2014/main" id="{283969B1-8803-CF48-9853-D0EA7AF2E00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2000"/>
                </a:spcAft>
              </a:pPr>
              <a:r>
                <a:rPr lang="en-US" sz="1331" b="0" i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©</a:t>
              </a:r>
              <a:r>
                <a:rPr lang="en-US" sz="667" b="0" i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r>
                <a:rPr lang="en-US" sz="1331" b="0" i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2023 IBM Corporation</a:t>
              </a:r>
              <a:r>
                <a:rPr lang="en-US" sz="1331" b="0" i="0" baseline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             </a:t>
              </a:r>
              <a:r>
                <a:rPr lang="en-US" sz="1331" b="0" i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3" name="Date Placeholder 2">
              <a:extLst>
                <a:ext uri="{FF2B5EF4-FFF2-40B4-BE49-F238E27FC236}">
                  <a16:creationId xmlns:a16="http://schemas.microsoft.com/office/drawing/2014/main" id="{8075FE19-A29E-5547-8B90-81043D31116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56150" y="7899655"/>
              <a:ext cx="164592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2000"/>
                </a:spcAft>
                <a:tabLst/>
                <a:defRPr/>
              </a:pPr>
              <a:r>
                <a:rPr lang="en-US" sz="1331" b="0" i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IBM Consulting</a:t>
              </a:r>
            </a:p>
          </p:txBody>
        </p:sp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697BCA7-C177-124C-A104-55300A7FA178}"/>
              </a:ext>
            </a:extLst>
          </p:cNvPr>
          <p:cNvCxnSpPr>
            <a:cxnSpLocks/>
          </p:cNvCxnSpPr>
          <p:nvPr userDrawn="1"/>
        </p:nvCxnSpPr>
        <p:spPr>
          <a:xfrm flipV="1">
            <a:off x="18290381" y="762000"/>
            <a:ext cx="0" cy="11938000"/>
          </a:xfrm>
          <a:prstGeom prst="line">
            <a:avLst/>
          </a:prstGeom>
          <a:ln w="3175">
            <a:solidFill>
              <a:srgbClr val="0011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2BB577B-B07D-D447-A615-CA819C93FEE4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2190163" y="762000"/>
            <a:ext cx="3424" cy="11938000"/>
          </a:xfrm>
          <a:prstGeom prst="line">
            <a:avLst/>
          </a:prstGeom>
          <a:ln w="3175">
            <a:solidFill>
              <a:srgbClr val="0011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8F43FDED-FE10-9C43-A0D7-2284FADF40AB}"/>
              </a:ext>
            </a:extLst>
          </p:cNvPr>
          <p:cNvSpPr txBox="1">
            <a:spLocks/>
          </p:cNvSpPr>
          <p:nvPr userDrawn="1"/>
        </p:nvSpPr>
        <p:spPr>
          <a:xfrm>
            <a:off x="758197" y="13223917"/>
            <a:ext cx="546535" cy="365083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1333" b="0" i="0" smtClean="0">
                <a:solidFill>
                  <a:srgbClr val="001141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Nr.›</a:t>
            </a:fld>
            <a:endParaRPr lang="en-US" sz="1333" b="0" i="0">
              <a:solidFill>
                <a:srgbClr val="00114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667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92">
          <p15:clr>
            <a:srgbClr val="FBAE40"/>
          </p15:clr>
        </p15:guide>
        <p15:guide id="2" orient="horz" pos="672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White Background-Title_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23CDDBEA-8282-A349-A313-A9A985A93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101" y="1807650"/>
            <a:ext cx="8078782" cy="1754189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100000"/>
              </a:lnSpc>
              <a:spcAft>
                <a:spcPts val="5667"/>
              </a:spcAft>
              <a:defRPr sz="5333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18920C27-14DB-5043-9FA6-FAD8D4F22C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2101" y="4398817"/>
            <a:ext cx="8078782" cy="6650184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3333"/>
              </a:spcAft>
              <a:buNone/>
              <a:defRPr sz="2667" b="0" i="0">
                <a:latin typeface="IBM Plex Sans Light" panose="020B0403050203000203" pitchFamily="34" charset="0"/>
              </a:defRPr>
            </a:lvl1pPr>
            <a:lvl2pPr marL="762010" indent="0" algn="ctr">
              <a:buNone/>
              <a:defRPr sz="3333"/>
            </a:lvl2pPr>
            <a:lvl3pPr marL="1524019" indent="0" algn="ctr">
              <a:buNone/>
              <a:defRPr sz="3000"/>
            </a:lvl3pPr>
            <a:lvl4pPr marL="2286029" indent="0" algn="ctr">
              <a:buNone/>
              <a:defRPr sz="2667"/>
            </a:lvl4pPr>
            <a:lvl5pPr marL="3048038" indent="0" algn="ctr">
              <a:buNone/>
              <a:defRPr sz="2667"/>
            </a:lvl5pPr>
            <a:lvl6pPr marL="3810048" indent="0" algn="ctr">
              <a:buNone/>
              <a:defRPr sz="2667"/>
            </a:lvl6pPr>
            <a:lvl7pPr marL="4572057" indent="0" algn="ctr">
              <a:buNone/>
              <a:defRPr sz="2667"/>
            </a:lvl7pPr>
            <a:lvl8pPr marL="5334067" indent="0" algn="ctr">
              <a:buNone/>
              <a:defRPr sz="2667"/>
            </a:lvl8pPr>
            <a:lvl9pPr marL="6096076" indent="0" algn="ctr">
              <a:buNone/>
              <a:defRPr sz="2667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69D03E8-341A-684F-A2FA-202EB65194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2100" y="762001"/>
            <a:ext cx="11050439" cy="381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333"/>
              </a:spcAft>
              <a:buNone/>
              <a:defRPr sz="2000" b="0" i="0">
                <a:solidFill>
                  <a:srgbClr val="001141"/>
                </a:solidFill>
                <a:latin typeface="IBM Plex Sans Medm" panose="020B0503050203000203" pitchFamily="34" charset="0"/>
              </a:defRPr>
            </a:lvl1pPr>
            <a:lvl2pPr>
              <a:defRPr sz="1333" b="0" i="0">
                <a:latin typeface="IBM Plex Sans Medm" panose="020B0503050203000203" pitchFamily="34" charset="0"/>
              </a:defRPr>
            </a:lvl2pPr>
            <a:lvl3pPr>
              <a:defRPr sz="1333" b="0" i="0">
                <a:latin typeface="IBM Plex Sans Medm" panose="020B0503050203000203" pitchFamily="34" charset="0"/>
              </a:defRPr>
            </a:lvl3pPr>
            <a:lvl4pPr>
              <a:defRPr sz="1333" b="0" i="0">
                <a:latin typeface="IBM Plex Sans Medm" panose="020B0503050203000203" pitchFamily="34" charset="0"/>
              </a:defRPr>
            </a:lvl4pPr>
            <a:lvl5pPr>
              <a:defRPr sz="1333" b="0" i="0">
                <a:latin typeface="IBM Plex Sans Medm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D3808D1-5B0C-FB4B-B4B0-C3FEB3758511}"/>
              </a:ext>
            </a:extLst>
          </p:cNvPr>
          <p:cNvGrpSpPr/>
          <p:nvPr userDrawn="1"/>
        </p:nvGrpSpPr>
        <p:grpSpPr>
          <a:xfrm>
            <a:off x="-411536" y="-380996"/>
            <a:ext cx="25179764" cy="14419544"/>
            <a:chOff x="-109730" y="-110489"/>
            <a:chExt cx="9352896" cy="5351811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F60E1ADA-2BDA-9D40-9A6C-DC88F8F1C790}"/>
                </a:ext>
              </a:extLst>
            </p:cNvPr>
            <p:cNvGrpSpPr/>
            <p:nvPr userDrawn="1"/>
          </p:nvGrpSpPr>
          <p:grpSpPr>
            <a:xfrm>
              <a:off x="326211" y="-110489"/>
              <a:ext cx="8492338" cy="119718"/>
              <a:chOff x="326211" y="-152399"/>
              <a:chExt cx="8492338" cy="199534"/>
            </a:xfrm>
          </p:grpSpPr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E0E49D21-1A52-6141-A9DD-60A91A462D9C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50011" y="-2906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1A3C2B2C-D760-DF4C-9987-7634BD965B16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090018" y="-76199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101BB4B0-65F1-EA43-8B7E-81ADC01D6F5C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31557" y="-76199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D43A7F40-8B71-C84E-B1FA-1DE0333EE8F2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373096" y="-76199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56B31A49-931E-754D-BC5F-CA05F7149D32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354641" y="-4005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72580F9B-DC53-6449-B303-C9D49E0EF06E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6180" y="-4005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BF141D2D-4EA9-204E-9CAD-136115D5DB69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637719" y="-4005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47934C0F-B55B-D248-A00F-CD38E23E47BE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619265" y="-4005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77B6B5DE-60F2-4947-968B-5D57C18B9113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60804" y="-4005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CCADF15F-081E-804E-B998-ECA2207B0D0F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902342" y="-4005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66A1A5D6-DC92-3D40-BACC-214350970932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742349" y="-29065"/>
                <a:ext cx="152399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4D9DC5D-77FB-F440-B5DB-A2DA329BB657}"/>
                </a:ext>
              </a:extLst>
            </p:cNvPr>
            <p:cNvGrpSpPr/>
            <p:nvPr userDrawn="1"/>
          </p:nvGrpSpPr>
          <p:grpSpPr>
            <a:xfrm>
              <a:off x="326211" y="5143289"/>
              <a:ext cx="8492338" cy="98033"/>
              <a:chOff x="326211" y="5111418"/>
              <a:chExt cx="8492338" cy="163389"/>
            </a:xfrm>
          </p:grpSpPr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43923083-04B5-664A-91EC-BDE595145E1F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50011" y="5187632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AB56F0E2-D159-1344-AED0-C205E8612862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090017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55BBF07F-6759-454F-A91D-B102B8AC1919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31556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E06CDBD1-5104-2345-A227-AD9F587B64BF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373095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98EE3F69-0BBE-BD4F-9AD0-1CB352E1AD4A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354641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7C98A40D-08C2-CE4C-84EC-F44645F73233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6180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5F2C4334-325C-F648-85C6-42EA35A5D422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637719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9DCB3919-C6D8-7841-8668-4FC65B2B152F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619264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4A95870D-535C-3845-B53B-3A776CA153C0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60803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E89ED024-07E4-8043-81FE-ED2CF733D6FE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902342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6C26E068-11CF-5A4C-9076-192CCF5D7635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742348" y="5187619"/>
                <a:ext cx="152402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BBB5C23F-A661-304E-8011-DD021448031E}"/>
                </a:ext>
              </a:extLst>
            </p:cNvPr>
            <p:cNvGrpSpPr/>
            <p:nvPr userDrawn="1"/>
          </p:nvGrpSpPr>
          <p:grpSpPr>
            <a:xfrm>
              <a:off x="-109730" y="313734"/>
              <a:ext cx="124556" cy="4525058"/>
              <a:chOff x="-109730" y="313734"/>
              <a:chExt cx="124556" cy="4525058"/>
            </a:xfrm>
          </p:grpSpPr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0C7ABC2B-4A6F-B94C-8519-4112F75E043D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303590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C7B0C4DF-FB88-3E41-A423-6B9060FFFC04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6262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0F21C9AE-BA75-4B42-8ABF-6D9511D56DA5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F93FD6DA-8879-FB44-9DA8-FB462D50A869}"/>
                  </a:ext>
                </a:extLst>
              </p:cNvPr>
              <p:cNvCxnSpPr/>
              <p:nvPr userDrawn="1"/>
            </p:nvCxnSpPr>
            <p:spPr bwMode="auto">
              <a:xfrm flipH="1">
                <a:off x="-98406" y="313734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98549E76-8743-074C-8EC8-6E60CA66AF1C}"/>
                  </a:ext>
                </a:extLst>
              </p:cNvPr>
              <p:cNvCxnSpPr/>
              <p:nvPr userDrawn="1"/>
            </p:nvCxnSpPr>
            <p:spPr bwMode="auto">
              <a:xfrm flipH="1">
                <a:off x="-76614" y="4838792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4498DC8-B4AA-1145-94DF-30D6EA792B67}"/>
                </a:ext>
              </a:extLst>
            </p:cNvPr>
            <p:cNvGrpSpPr/>
            <p:nvPr userDrawn="1"/>
          </p:nvGrpSpPr>
          <p:grpSpPr>
            <a:xfrm>
              <a:off x="9123418" y="313734"/>
              <a:ext cx="119748" cy="4525057"/>
              <a:chOff x="-149362" y="307384"/>
              <a:chExt cx="119748" cy="4525057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CAD88016-E1AB-3E4A-A193-B0EE59ABA177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1297240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A34A47F0-153C-F044-8B57-897D51D0F3AF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2569913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5BEF783C-A4C5-464B-B070-CB463F346A63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3843274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A16682FB-1EAE-BF4A-90A7-F03FCDEB53CD}"/>
                  </a:ext>
                </a:extLst>
              </p:cNvPr>
              <p:cNvCxnSpPr/>
              <p:nvPr userDrawn="1"/>
            </p:nvCxnSpPr>
            <p:spPr bwMode="auto">
              <a:xfrm flipH="1">
                <a:off x="-149362" y="307384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5CED665C-B02F-8448-B30E-668DB8D2C953}"/>
                  </a:ext>
                </a:extLst>
              </p:cNvPr>
              <p:cNvCxnSpPr/>
              <p:nvPr userDrawn="1"/>
            </p:nvCxnSpPr>
            <p:spPr bwMode="auto">
              <a:xfrm flipH="1">
                <a:off x="-121054" y="4832441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7038237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92">
          <p15:clr>
            <a:srgbClr val="FBAE40"/>
          </p15:clr>
        </p15:guide>
        <p15:guide id="2" orient="horz" pos="672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. Cyan10 Whit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B162276-12DB-6A41-84AA-0E88DCCF1A59}"/>
              </a:ext>
            </a:extLst>
          </p:cNvPr>
          <p:cNvSpPr/>
          <p:nvPr userDrawn="1"/>
        </p:nvSpPr>
        <p:spPr>
          <a:xfrm>
            <a:off x="0" y="0"/>
            <a:ext cx="12193588" cy="13716000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51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5604B5E-7962-8949-B03E-AE56A040F8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103" y="1751543"/>
            <a:ext cx="8078782" cy="1752600"/>
          </a:xfrm>
        </p:spPr>
        <p:txBody>
          <a:bodyPr lIns="0" tIns="0" rIns="0" bIns="0" anchor="t" anchorCtr="0">
            <a:noAutofit/>
          </a:bodyPr>
          <a:lstStyle>
            <a:lvl1pPr>
              <a:lnSpc>
                <a:spcPct val="100000"/>
              </a:lnSpc>
              <a:spcAft>
                <a:spcPts val="5667"/>
              </a:spcAft>
              <a:defRPr sz="4667" b="0" i="0">
                <a:solidFill>
                  <a:srgbClr val="0F62FE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2C71E96-A6C1-694E-900F-969C83B7A4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2102" y="3886731"/>
            <a:ext cx="8078780" cy="8466667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3333"/>
              </a:spcAft>
              <a:defRPr sz="2667" b="0" i="0">
                <a:solidFill>
                  <a:srgbClr val="00114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Aft>
                <a:spcPts val="3333"/>
              </a:spcAft>
              <a:defRPr sz="2667" b="0" i="0">
                <a:solidFill>
                  <a:srgbClr val="00114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Aft>
                <a:spcPts val="3333"/>
              </a:spcAft>
              <a:defRPr sz="2667" b="0" i="0">
                <a:solidFill>
                  <a:srgbClr val="00114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Aft>
                <a:spcPts val="3333"/>
              </a:spcAft>
              <a:defRPr sz="2667" b="0" i="0">
                <a:solidFill>
                  <a:srgbClr val="00114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00000"/>
              </a:lnSpc>
              <a:spcAft>
                <a:spcPts val="3333"/>
              </a:spcAft>
              <a:defRPr sz="2667" b="0" i="0">
                <a:solidFill>
                  <a:srgbClr val="00114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0F02BA3-76A6-E948-AA95-7E40D4A3187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574637" y="1751541"/>
            <a:ext cx="5107124" cy="10601856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Aft>
                <a:spcPts val="3333"/>
              </a:spcAft>
              <a:defRPr sz="2667" b="0" i="0"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Aft>
                <a:spcPts val="3333"/>
              </a:spcAft>
              <a:defRPr sz="2667" b="0" i="0"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Aft>
                <a:spcPts val="3333"/>
              </a:spcAft>
              <a:defRPr sz="2667" b="0" i="0"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Aft>
                <a:spcPts val="3333"/>
              </a:spcAft>
              <a:defRPr sz="2667" b="0" i="0">
                <a:latin typeface="IBM Plex Sans Light" panose="020B0403050203000203" pitchFamily="34" charset="0"/>
              </a:defRPr>
            </a:lvl4pPr>
            <a:lvl5pPr>
              <a:lnSpc>
                <a:spcPct val="100000"/>
              </a:lnSpc>
              <a:spcAft>
                <a:spcPts val="3333"/>
              </a:spcAft>
              <a:defRPr sz="2667" b="0" i="0"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C485265-FFB1-0845-A9C3-1B1E0B3CB1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2100" y="762001"/>
            <a:ext cx="11050439" cy="381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333"/>
              </a:spcAft>
              <a:buNone/>
              <a:defRPr sz="1667" b="0" i="0">
                <a:solidFill>
                  <a:srgbClr val="001141"/>
                </a:solidFill>
                <a:latin typeface="IBM Plex Sans Medm" panose="020B0503050203000203" pitchFamily="34" charset="0"/>
              </a:defRPr>
            </a:lvl1pPr>
            <a:lvl2pPr>
              <a:defRPr sz="1333" b="0" i="0">
                <a:latin typeface="IBM Plex Sans Medm" panose="020B0503050203000203" pitchFamily="34" charset="0"/>
              </a:defRPr>
            </a:lvl2pPr>
            <a:lvl3pPr>
              <a:defRPr sz="1333" b="0" i="0">
                <a:latin typeface="IBM Plex Sans Medm" panose="020B0503050203000203" pitchFamily="34" charset="0"/>
              </a:defRPr>
            </a:lvl3pPr>
            <a:lvl4pPr>
              <a:defRPr sz="1333" b="0" i="0">
                <a:latin typeface="IBM Plex Sans Medm" panose="020B0503050203000203" pitchFamily="34" charset="0"/>
              </a:defRPr>
            </a:lvl4pPr>
            <a:lvl5pPr>
              <a:defRPr sz="1333" b="0" i="0">
                <a:latin typeface="IBM Plex Sans Medm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29FF58B0-13AE-1840-99FF-491D958BC2C4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8469701" y="1751541"/>
            <a:ext cx="5155375" cy="10601856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Aft>
                <a:spcPts val="3333"/>
              </a:spcAft>
              <a:defRPr sz="2667" b="0" i="0"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Aft>
                <a:spcPts val="3333"/>
              </a:spcAft>
              <a:defRPr sz="2667" b="0" i="0"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Aft>
                <a:spcPts val="3333"/>
              </a:spcAft>
              <a:defRPr sz="2667" b="0" i="0"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Aft>
                <a:spcPts val="3333"/>
              </a:spcAft>
              <a:defRPr sz="2667" b="0" i="0">
                <a:latin typeface="IBM Plex Sans Light" panose="020B0403050203000203" pitchFamily="34" charset="0"/>
              </a:defRPr>
            </a:lvl4pPr>
            <a:lvl5pPr>
              <a:lnSpc>
                <a:spcPct val="100000"/>
              </a:lnSpc>
              <a:spcAft>
                <a:spcPts val="3333"/>
              </a:spcAft>
              <a:defRPr sz="2667" b="0" i="0"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A6B7A0A-EE67-1F42-9C1E-44E43892FDAF}"/>
              </a:ext>
            </a:extLst>
          </p:cNvPr>
          <p:cNvGrpSpPr/>
          <p:nvPr userDrawn="1"/>
        </p:nvGrpSpPr>
        <p:grpSpPr>
          <a:xfrm>
            <a:off x="1323196" y="13218788"/>
            <a:ext cx="4980099" cy="367619"/>
            <a:chOff x="914400" y="7899655"/>
            <a:chExt cx="2987670" cy="220571"/>
          </a:xfrm>
        </p:grpSpPr>
        <p:sp>
          <p:nvSpPr>
            <p:cNvPr id="17" name="Footer Placeholder 3">
              <a:extLst>
                <a:ext uri="{FF2B5EF4-FFF2-40B4-BE49-F238E27FC236}">
                  <a16:creationId xmlns:a16="http://schemas.microsoft.com/office/drawing/2014/main" id="{A894A19A-3BF6-F14B-9305-8A31E427279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2000"/>
                </a:spcAft>
              </a:pPr>
              <a:r>
                <a:rPr lang="en-US" sz="1331" b="0" i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©</a:t>
              </a:r>
              <a:r>
                <a:rPr lang="en-US" sz="667" b="0" i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r>
                <a:rPr lang="en-US" sz="1331" b="0" i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2023 IBM Corporation</a:t>
              </a:r>
              <a:r>
                <a:rPr lang="en-US" sz="1331" b="0" i="0" baseline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             </a:t>
              </a:r>
              <a:r>
                <a:rPr lang="en-US" sz="1331" b="0" i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8" name="Date Placeholder 2">
              <a:extLst>
                <a:ext uri="{FF2B5EF4-FFF2-40B4-BE49-F238E27FC236}">
                  <a16:creationId xmlns:a16="http://schemas.microsoft.com/office/drawing/2014/main" id="{1B1675EF-4FDA-C64A-9DB3-3784E49FB0B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56150" y="7899655"/>
              <a:ext cx="164592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2000"/>
                </a:spcAft>
                <a:tabLst/>
                <a:defRPr/>
              </a:pPr>
              <a:r>
                <a:rPr lang="en-US" sz="1331" b="0" i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IBM Consulting</a:t>
              </a:r>
            </a:p>
          </p:txBody>
        </p:sp>
      </p:grp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D99BA225-34C3-E745-9AF5-347D2A5C7942}"/>
              </a:ext>
            </a:extLst>
          </p:cNvPr>
          <p:cNvSpPr txBox="1">
            <a:spLocks/>
          </p:cNvSpPr>
          <p:nvPr userDrawn="1"/>
        </p:nvSpPr>
        <p:spPr>
          <a:xfrm>
            <a:off x="758197" y="13223917"/>
            <a:ext cx="546535" cy="365083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1333" b="0" i="0" smtClean="0">
                <a:solidFill>
                  <a:srgbClr val="001141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Nr.›</a:t>
            </a:fld>
            <a:endParaRPr lang="en-US" sz="1333" b="0" i="0">
              <a:solidFill>
                <a:srgbClr val="00114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8645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67500" y="411480"/>
            <a:ext cx="4951413" cy="2859087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7620000" cy="2859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7" name="Straight Connector 16" descr="Horizontal row divider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6667500" y="4000500"/>
            <a:ext cx="1714500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67500" y="4187952"/>
            <a:ext cx="4951413" cy="2857506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4381500"/>
            <a:ext cx="7620000" cy="2857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5" name="Straight Connector 14" descr="Horizontal row divider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6667500" y="8191500"/>
            <a:ext cx="1714500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67501" y="8403336"/>
            <a:ext cx="4951411" cy="2857506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8572500"/>
            <a:ext cx="7620000" cy="2857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2042775"/>
            <a:ext cx="4951413" cy="11430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111609"/>
      </p:ext>
    </p:extLst>
  </p:cSld>
  <p:clrMapOvr>
    <a:masterClrMapping/>
  </p:clrMapOvr>
  <p:transition spd="med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>
            <a:extLst>
              <a:ext uri="{FF2B5EF4-FFF2-40B4-BE49-F238E27FC236}">
                <a16:creationId xmlns:a16="http://schemas.microsoft.com/office/drawing/2014/main" id="{A6D13ED4-A227-7D4D-A39A-6F654120E33C}"/>
              </a:ext>
            </a:extLst>
          </p:cNvPr>
          <p:cNvSpPr txBox="1"/>
          <p:nvPr userDrawn="1"/>
        </p:nvSpPr>
        <p:spPr>
          <a:xfrm>
            <a:off x="812902" y="1011043"/>
            <a:ext cx="18462394" cy="1733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829325"/>
            <a:r>
              <a:rPr lang="en-GB" sz="10667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" charset="0"/>
                <a:cs typeface="IBM Plex Sans" charset="0"/>
              </a:rPr>
              <a:t>IBM </a:t>
            </a:r>
            <a:r>
              <a:rPr lang="en-GB" sz="10667" b="1" i="0">
                <a:solidFill>
                  <a:schemeClr val="tx1"/>
                </a:solidFill>
                <a:latin typeface="IBM Plex Sans Light" panose="020B0403050203000203" pitchFamily="34" charset="0"/>
                <a:ea typeface="IBM Plex Sans" charset="0"/>
                <a:cs typeface="IBM Plex Sans" charset="0"/>
              </a:rPr>
              <a:t>Deutschland GmbH</a:t>
            </a:r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474F9F7F-DF8A-564C-9AA8-D583A6ABEF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0894" y="3737655"/>
            <a:ext cx="10322491" cy="840093"/>
          </a:xfrm>
        </p:spPr>
        <p:txBody>
          <a:bodyPr anchor="ctr"/>
          <a:lstStyle>
            <a:lvl1pPr>
              <a:defRPr sz="4667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41" name="Content Placeholder 8">
            <a:extLst>
              <a:ext uri="{FF2B5EF4-FFF2-40B4-BE49-F238E27FC236}">
                <a16:creationId xmlns:a16="http://schemas.microsoft.com/office/drawing/2014/main" id="{3501439F-EAC3-3847-9DA6-CD66D6E19DC7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030894" y="4818022"/>
            <a:ext cx="10322491" cy="840093"/>
          </a:xfrm>
        </p:spPr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dirty="0"/>
              <a:t>Month DD, YYY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66723C9-1461-9B44-A7AF-D840ECAD9BB1}"/>
              </a:ext>
            </a:extLst>
          </p:cNvPr>
          <p:cNvSpPr/>
          <p:nvPr userDrawn="1"/>
        </p:nvSpPr>
        <p:spPr>
          <a:xfrm>
            <a:off x="0" y="12858667"/>
            <a:ext cx="24387175" cy="84009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2400" tIns="76200" rIns="1524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600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0EB65BD-4DB0-DB49-0C23-2E31254574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31692" y="8658200"/>
            <a:ext cx="3240782" cy="5181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148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AB9337B-FA79-6447-A02D-36FC84911A4D}"/>
              </a:ext>
            </a:extLst>
          </p:cNvPr>
          <p:cNvSpPr/>
          <p:nvPr userDrawn="1"/>
        </p:nvSpPr>
        <p:spPr bwMode="auto">
          <a:xfrm>
            <a:off x="-28512" y="0"/>
            <a:ext cx="5231908" cy="13716000"/>
          </a:xfrm>
          <a:prstGeom prst="rect">
            <a:avLst/>
          </a:prstGeom>
          <a:solidFill>
            <a:schemeClr val="tx2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60000" tIns="60000" rIns="60000" bIns="60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1433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2333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15661" y="1871190"/>
            <a:ext cx="4600586" cy="2706557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832052" y="1871190"/>
            <a:ext cx="17945261" cy="10638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tabLst/>
              <a:defRPr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tabLst/>
              <a:defRPr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tabLst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1342E0C1-C44D-B74A-B3D4-CD7EFF3964AB}"/>
              </a:ext>
            </a:extLst>
          </p:cNvPr>
          <p:cNvSpPr txBox="1">
            <a:spLocks/>
          </p:cNvSpPr>
          <p:nvPr userDrawn="1"/>
        </p:nvSpPr>
        <p:spPr>
          <a:xfrm>
            <a:off x="609856" y="12801601"/>
            <a:ext cx="4502023" cy="444498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marR="0" indent="0" algn="l" defTabSz="10975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67"/>
              <a:t>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04593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8A6CCA84-165A-464C-AF1C-791F553A3E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903" y="512065"/>
            <a:ext cx="23216413" cy="99459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" name="Content Placeholder 8">
            <a:extLst>
              <a:ext uri="{FF2B5EF4-FFF2-40B4-BE49-F238E27FC236}">
                <a16:creationId xmlns:a16="http://schemas.microsoft.com/office/drawing/2014/main" id="{C732C3B3-03FF-3241-B100-AD07E24C711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60903" y="1697427"/>
            <a:ext cx="23216413" cy="10921213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130722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3" y="512065"/>
            <a:ext cx="23216413" cy="99459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" name="Content Placeholder 8">
            <a:extLst>
              <a:ext uri="{FF2B5EF4-FFF2-40B4-BE49-F238E27FC236}">
                <a16:creationId xmlns:a16="http://schemas.microsoft.com/office/drawing/2014/main" id="{36449E3C-3B91-054A-81C0-6B31087D7BA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60903" y="1697427"/>
            <a:ext cx="23216413" cy="10921213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13200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B43138D-3EF3-D347-A320-D9D6ED8557E3}"/>
              </a:ext>
            </a:extLst>
          </p:cNvPr>
          <p:cNvSpPr/>
          <p:nvPr userDrawn="1"/>
        </p:nvSpPr>
        <p:spPr bwMode="auto">
          <a:xfrm>
            <a:off x="18315064" y="0"/>
            <a:ext cx="6072111" cy="13716000"/>
          </a:xfrm>
          <a:prstGeom prst="rect">
            <a:avLst/>
          </a:prstGeom>
          <a:solidFill>
            <a:srgbClr val="F2F2F2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60000" tIns="60000" rIns="60000" bIns="60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1433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2333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4" y="512065"/>
            <a:ext cx="17154018" cy="99459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60902" y="1871190"/>
            <a:ext cx="17154018" cy="10638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tabLst/>
              <a:defRPr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tabLst/>
              <a:defRPr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tabLst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137F4E27-FDA7-3E41-AF9B-046AC252114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900065" y="1871190"/>
            <a:ext cx="4949883" cy="10638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tabLst/>
              <a:defRPr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tabLst/>
              <a:defRPr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tabLst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EA4069C0-E458-DC46-9E96-3BEF85D82110}"/>
              </a:ext>
            </a:extLst>
          </p:cNvPr>
          <p:cNvSpPr txBox="1">
            <a:spLocks/>
          </p:cNvSpPr>
          <p:nvPr userDrawn="1"/>
        </p:nvSpPr>
        <p:spPr>
          <a:xfrm>
            <a:off x="18900062" y="12801601"/>
            <a:ext cx="4877253" cy="444498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1097280" rtl="0" eaLnBrk="1" latinLnBrk="0" hangingPunct="1">
              <a:defRPr sz="10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9395FB3-9C97-154F-86B2-7E381B951268}" type="slidenum">
              <a:rPr lang="en-US" sz="1667" smtClean="0">
                <a:solidFill>
                  <a:schemeClr val="tx1"/>
                </a:solidFill>
              </a:rPr>
              <a:pPr/>
              <a:t>‹Nr.›</a:t>
            </a:fld>
            <a:endParaRPr lang="en-US" sz="1667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11740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AB9337B-FA79-6447-A02D-36FC84911A4D}"/>
              </a:ext>
            </a:extLst>
          </p:cNvPr>
          <p:cNvSpPr/>
          <p:nvPr userDrawn="1"/>
        </p:nvSpPr>
        <p:spPr bwMode="auto">
          <a:xfrm>
            <a:off x="-4484" y="28965"/>
            <a:ext cx="12193588" cy="13716000"/>
          </a:xfrm>
          <a:prstGeom prst="rect">
            <a:avLst/>
          </a:prstGeom>
          <a:solidFill>
            <a:schemeClr val="tx2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60000" tIns="60000" rIns="60000" bIns="60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1433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2333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601925" y="517381"/>
            <a:ext cx="10427398" cy="2260165"/>
          </a:xfrm>
        </p:spPr>
        <p:txBody>
          <a:bodyPr/>
          <a:lstStyle>
            <a:lvl1pPr>
              <a:defRPr sz="7333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2C8D1178-CE64-6549-8DC5-1FD66DEF4F83}"/>
              </a:ext>
            </a:extLst>
          </p:cNvPr>
          <p:cNvSpPr txBox="1">
            <a:spLocks/>
          </p:cNvSpPr>
          <p:nvPr userDrawn="1"/>
        </p:nvSpPr>
        <p:spPr>
          <a:xfrm>
            <a:off x="609856" y="12801601"/>
            <a:ext cx="4502023" cy="444498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marR="0" indent="0" algn="l" defTabSz="10975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67"/>
              <a:t>© 2023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5599165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AB9337B-FA79-6447-A02D-36FC84911A4D}"/>
              </a:ext>
            </a:extLst>
          </p:cNvPr>
          <p:cNvSpPr/>
          <p:nvPr userDrawn="1"/>
        </p:nvSpPr>
        <p:spPr bwMode="auto">
          <a:xfrm>
            <a:off x="0" y="0"/>
            <a:ext cx="12193588" cy="13716000"/>
          </a:xfrm>
          <a:prstGeom prst="rect">
            <a:avLst/>
          </a:prstGeom>
          <a:solidFill>
            <a:schemeClr val="bg2">
              <a:lumMod val="95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60000" tIns="60000" rIns="60000" bIns="60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1433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2333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601925" y="517381"/>
            <a:ext cx="10427398" cy="2260165"/>
          </a:xfrm>
        </p:spPr>
        <p:txBody>
          <a:bodyPr/>
          <a:lstStyle>
            <a:lvl1pPr>
              <a:defRPr sz="7333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2C8D1178-CE64-6549-8DC5-1FD66DEF4F83}"/>
              </a:ext>
            </a:extLst>
          </p:cNvPr>
          <p:cNvSpPr txBox="1">
            <a:spLocks/>
          </p:cNvSpPr>
          <p:nvPr userDrawn="1"/>
        </p:nvSpPr>
        <p:spPr>
          <a:xfrm>
            <a:off x="609856" y="12801601"/>
            <a:ext cx="4502023" cy="444498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marR="0" indent="0" algn="l" defTabSz="10975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67"/>
              <a:t>IBM Consulting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9321733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Cl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A86C60A-E54D-9343-86B6-088B28BDEB93}"/>
              </a:ext>
            </a:extLst>
          </p:cNvPr>
          <p:cNvSpPr/>
          <p:nvPr userDrawn="1"/>
        </p:nvSpPr>
        <p:spPr>
          <a:xfrm>
            <a:off x="53639" y="26545"/>
            <a:ext cx="24387175" cy="136987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2400" tIns="76200" rIns="1524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60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4E1B597D-5846-B5E4-13B3-EC4092B0EA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3197" y="4258717"/>
            <a:ext cx="3240782" cy="5181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9754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24387175" cy="340360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3403600"/>
            <a:ext cx="24387175" cy="103124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675184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9"/>
            <a:ext cx="11047390" cy="214579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585293" y="3316223"/>
            <a:ext cx="4901822" cy="867257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682086" y="3316223"/>
            <a:ext cx="4901822" cy="867257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12778880" y="3316223"/>
            <a:ext cx="4901822" cy="867257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18875674" y="3316223"/>
            <a:ext cx="4901822" cy="867257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7929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313497"/>
      </p:ext>
    </p:extLst>
  </p:cSld>
  <p:clrMapOvr>
    <a:masterClrMapping/>
  </p:clrMapOvr>
  <p:transition spd="med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9"/>
            <a:ext cx="11047390" cy="214579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41693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White Background-Title_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23CDDBEA-8282-A349-A313-A9A985A93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099" y="1807648"/>
            <a:ext cx="8078782" cy="1754188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100000"/>
              </a:lnSpc>
              <a:spcAft>
                <a:spcPts val="5667"/>
              </a:spcAft>
              <a:defRPr sz="5333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18920C27-14DB-5043-9FA6-FAD8D4F22C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2099" y="4398816"/>
            <a:ext cx="8078782" cy="6650185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3333"/>
              </a:spcAft>
              <a:buNone/>
              <a:defRPr sz="2667" b="0" i="0">
                <a:latin typeface="IBM Plex Sans Light" panose="020B0403050203000203" pitchFamily="34" charset="0"/>
              </a:defRPr>
            </a:lvl1pPr>
            <a:lvl2pPr marL="762015" indent="0" algn="ctr">
              <a:buNone/>
              <a:defRPr sz="3333"/>
            </a:lvl2pPr>
            <a:lvl3pPr marL="1524030" indent="0" algn="ctr">
              <a:buNone/>
              <a:defRPr sz="3000"/>
            </a:lvl3pPr>
            <a:lvl4pPr marL="2286046" indent="0" algn="ctr">
              <a:buNone/>
              <a:defRPr sz="2667"/>
            </a:lvl4pPr>
            <a:lvl5pPr marL="3048061" indent="0" algn="ctr">
              <a:buNone/>
              <a:defRPr sz="2667"/>
            </a:lvl5pPr>
            <a:lvl6pPr marL="3810076" indent="0" algn="ctr">
              <a:buNone/>
              <a:defRPr sz="2667"/>
            </a:lvl6pPr>
            <a:lvl7pPr marL="4572091" indent="0" algn="ctr">
              <a:buNone/>
              <a:defRPr sz="2667"/>
            </a:lvl7pPr>
            <a:lvl8pPr marL="5334107" indent="0" algn="ctr">
              <a:buNone/>
              <a:defRPr sz="2667"/>
            </a:lvl8pPr>
            <a:lvl9pPr marL="6096122" indent="0" algn="ctr">
              <a:buNone/>
              <a:defRPr sz="2667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69D03E8-341A-684F-A2FA-202EB65194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2099" y="762000"/>
            <a:ext cx="11050439" cy="381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333"/>
              </a:spcAft>
              <a:buNone/>
              <a:defRPr sz="2000" b="0" i="0">
                <a:solidFill>
                  <a:srgbClr val="001141"/>
                </a:solidFill>
                <a:latin typeface="IBM Plex Sans Medm" panose="020B0503050203000203" pitchFamily="34" charset="0"/>
              </a:defRPr>
            </a:lvl1pPr>
            <a:lvl2pPr>
              <a:defRPr sz="1333" b="0" i="0">
                <a:latin typeface="IBM Plex Sans Medm" panose="020B0503050203000203" pitchFamily="34" charset="0"/>
              </a:defRPr>
            </a:lvl2pPr>
            <a:lvl3pPr>
              <a:defRPr sz="1333" b="0" i="0">
                <a:latin typeface="IBM Plex Sans Medm" panose="020B0503050203000203" pitchFamily="34" charset="0"/>
              </a:defRPr>
            </a:lvl3pPr>
            <a:lvl4pPr>
              <a:defRPr sz="1333" b="0" i="0">
                <a:latin typeface="IBM Plex Sans Medm" panose="020B0503050203000203" pitchFamily="34" charset="0"/>
              </a:defRPr>
            </a:lvl4pPr>
            <a:lvl5pPr>
              <a:defRPr sz="1333" b="0" i="0">
                <a:latin typeface="IBM Plex Sans Medm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D3808D1-5B0C-FB4B-B4B0-C3FEB3758511}"/>
              </a:ext>
            </a:extLst>
          </p:cNvPr>
          <p:cNvGrpSpPr/>
          <p:nvPr userDrawn="1"/>
        </p:nvGrpSpPr>
        <p:grpSpPr>
          <a:xfrm>
            <a:off x="-411536" y="-380997"/>
            <a:ext cx="25179763" cy="14419543"/>
            <a:chOff x="-109730" y="-110489"/>
            <a:chExt cx="9352896" cy="5351811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F60E1ADA-2BDA-9D40-9A6C-DC88F8F1C790}"/>
                </a:ext>
              </a:extLst>
            </p:cNvPr>
            <p:cNvGrpSpPr/>
            <p:nvPr userDrawn="1"/>
          </p:nvGrpSpPr>
          <p:grpSpPr>
            <a:xfrm>
              <a:off x="326211" y="-110489"/>
              <a:ext cx="8492338" cy="119718"/>
              <a:chOff x="326211" y="-152399"/>
              <a:chExt cx="8492338" cy="199534"/>
            </a:xfrm>
          </p:grpSpPr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E0E49D21-1A52-6141-A9DD-60A91A462D9C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50011" y="-2906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1A3C2B2C-D760-DF4C-9987-7634BD965B16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090018" y="-76199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101BB4B0-65F1-EA43-8B7E-81ADC01D6F5C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31557" y="-76199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D43A7F40-8B71-C84E-B1FA-1DE0333EE8F2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373096" y="-76199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56B31A49-931E-754D-BC5F-CA05F7149D32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354641" y="-4005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72580F9B-DC53-6449-B303-C9D49E0EF06E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6180" y="-4005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BF141D2D-4EA9-204E-9CAD-136115D5DB69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637719" y="-4005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47934C0F-B55B-D248-A00F-CD38E23E47BE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619265" y="-4005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77B6B5DE-60F2-4947-968B-5D57C18B9113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60804" y="-4005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CCADF15F-081E-804E-B998-ECA2207B0D0F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902342" y="-4005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66A1A5D6-DC92-3D40-BACC-214350970932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742349" y="-29065"/>
                <a:ext cx="152399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4D9DC5D-77FB-F440-B5DB-A2DA329BB657}"/>
                </a:ext>
              </a:extLst>
            </p:cNvPr>
            <p:cNvGrpSpPr/>
            <p:nvPr userDrawn="1"/>
          </p:nvGrpSpPr>
          <p:grpSpPr>
            <a:xfrm>
              <a:off x="326211" y="5143289"/>
              <a:ext cx="8492338" cy="98033"/>
              <a:chOff x="326211" y="5111418"/>
              <a:chExt cx="8492338" cy="163389"/>
            </a:xfrm>
          </p:grpSpPr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43923083-04B5-664A-91EC-BDE595145E1F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50011" y="5187632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AB56F0E2-D159-1344-AED0-C205E8612862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090017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55BBF07F-6759-454F-A91D-B102B8AC1919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31556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E06CDBD1-5104-2345-A227-AD9F587B64BF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373095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98EE3F69-0BBE-BD4F-9AD0-1CB352E1AD4A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354641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7C98A40D-08C2-CE4C-84EC-F44645F73233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6180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5F2C4334-325C-F648-85C6-42EA35A5D422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637719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9DCB3919-C6D8-7841-8668-4FC65B2B152F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619264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4A95870D-535C-3845-B53B-3A776CA153C0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60803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E89ED024-07E4-8043-81FE-ED2CF733D6FE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902342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6C26E068-11CF-5A4C-9076-192CCF5D7635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742348" y="5187619"/>
                <a:ext cx="152402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BBB5C23F-A661-304E-8011-DD021448031E}"/>
                </a:ext>
              </a:extLst>
            </p:cNvPr>
            <p:cNvGrpSpPr/>
            <p:nvPr userDrawn="1"/>
          </p:nvGrpSpPr>
          <p:grpSpPr>
            <a:xfrm>
              <a:off x="-109730" y="313734"/>
              <a:ext cx="124556" cy="4525058"/>
              <a:chOff x="-109730" y="313734"/>
              <a:chExt cx="124556" cy="4525058"/>
            </a:xfrm>
          </p:grpSpPr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0C7ABC2B-4A6F-B94C-8519-4112F75E043D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303590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C7B0C4DF-FB88-3E41-A423-6B9060FFFC04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6262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0F21C9AE-BA75-4B42-8ABF-6D9511D56DA5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F93FD6DA-8879-FB44-9DA8-FB462D50A869}"/>
                  </a:ext>
                </a:extLst>
              </p:cNvPr>
              <p:cNvCxnSpPr/>
              <p:nvPr userDrawn="1"/>
            </p:nvCxnSpPr>
            <p:spPr bwMode="auto">
              <a:xfrm flipH="1">
                <a:off x="-98406" y="313734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98549E76-8743-074C-8EC8-6E60CA66AF1C}"/>
                  </a:ext>
                </a:extLst>
              </p:cNvPr>
              <p:cNvCxnSpPr/>
              <p:nvPr userDrawn="1"/>
            </p:nvCxnSpPr>
            <p:spPr bwMode="auto">
              <a:xfrm flipH="1">
                <a:off x="-76614" y="4838792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4498DC8-B4AA-1145-94DF-30D6EA792B67}"/>
                </a:ext>
              </a:extLst>
            </p:cNvPr>
            <p:cNvGrpSpPr/>
            <p:nvPr userDrawn="1"/>
          </p:nvGrpSpPr>
          <p:grpSpPr>
            <a:xfrm>
              <a:off x="9123418" y="313734"/>
              <a:ext cx="119748" cy="4525057"/>
              <a:chOff x="-149362" y="307384"/>
              <a:chExt cx="119748" cy="4525057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CAD88016-E1AB-3E4A-A193-B0EE59ABA177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1297240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A34A47F0-153C-F044-8B57-897D51D0F3AF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2569913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5BEF783C-A4C5-464B-B070-CB463F346A63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3843274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A16682FB-1EAE-BF4A-90A7-F03FCDEB53CD}"/>
                  </a:ext>
                </a:extLst>
              </p:cNvPr>
              <p:cNvCxnSpPr/>
              <p:nvPr userDrawn="1"/>
            </p:nvCxnSpPr>
            <p:spPr bwMode="auto">
              <a:xfrm flipH="1">
                <a:off x="-149362" y="307384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5CED665C-B02F-8448-B30E-668DB8D2C953}"/>
                  </a:ext>
                </a:extLst>
              </p:cNvPr>
              <p:cNvCxnSpPr/>
              <p:nvPr userDrawn="1"/>
            </p:nvCxnSpPr>
            <p:spPr bwMode="auto">
              <a:xfrm flipH="1">
                <a:off x="-121054" y="4832441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220904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92">
          <p15:clr>
            <a:srgbClr val="FBAE40"/>
          </p15:clr>
        </p15:guide>
        <p15:guide id="2" orient="horz" pos="672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9"/>
            <a:ext cx="11047390" cy="214579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585293" y="3316223"/>
            <a:ext cx="10998615" cy="867257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12193587" y="0"/>
            <a:ext cx="12193588" cy="13716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952452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68826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24387175" cy="340360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3403600"/>
            <a:ext cx="24387175" cy="10312400"/>
          </a:xfrm>
        </p:spPr>
        <p:txBody>
          <a:bodyPr lIns="91440" tIns="91440" rIns="91440" bIns="91440"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70907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9"/>
            <a:ext cx="11047390" cy="11452352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2778880" y="536449"/>
            <a:ext cx="10998615" cy="1145235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469305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9"/>
            <a:ext cx="11047390" cy="114523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12778880" y="536449"/>
            <a:ext cx="4901822" cy="114523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8875674" y="536449"/>
            <a:ext cx="4901822" cy="114523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04173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ata, 3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Nível de Corpo Um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12769928" y="426482"/>
            <a:ext cx="4950471" cy="190659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  <a:lvl2pPr marL="1188744" indent="-1188744"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2pPr>
            <a:lvl3pPr marL="1517934" indent="-1188744"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3pPr>
            <a:lvl4pPr marL="1847125" indent="-1188744"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4pPr>
            <a:lvl5pPr marL="2336847" indent="-1651033"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5pPr>
          </a:lstStyle>
          <a:p>
            <a:r>
              <a:t>00%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32" name="Text Placeholder 19"/>
          <p:cNvSpPr>
            <a:spLocks noGrp="1"/>
          </p:cNvSpPr>
          <p:nvPr>
            <p:ph type="body" sz="quarter" idx="21" hasCustomPrompt="1"/>
          </p:nvPr>
        </p:nvSpPr>
        <p:spPr>
          <a:xfrm>
            <a:off x="18861957" y="429655"/>
            <a:ext cx="4950468" cy="1903417"/>
          </a:xfrm>
          <a:prstGeom prst="rect">
            <a:avLst/>
          </a:prstGeom>
        </p:spPr>
        <p:txBody>
          <a:bodyPr>
            <a:normAutofit/>
          </a:bodyPr>
          <a:lstStyle>
            <a:lvl1pPr defTabSz="2145835">
              <a:lnSpc>
                <a:spcPct val="90000"/>
              </a:lnSpc>
              <a:defRPr sz="11440">
                <a:solidFill>
                  <a:schemeClr val="accent1"/>
                </a:solidFill>
              </a:defRPr>
            </a:lvl1pPr>
          </a:lstStyle>
          <a:p>
            <a:r>
              <a:t>00%</a:t>
            </a:r>
          </a:p>
        </p:txBody>
      </p:sp>
      <p:sp>
        <p:nvSpPr>
          <p:cNvPr id="133" name="Text Placehold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6668370" y="429771"/>
            <a:ext cx="4952058" cy="1907912"/>
          </a:xfrm>
          <a:prstGeom prst="rect">
            <a:avLst/>
          </a:prstGeom>
        </p:spPr>
        <p:txBody>
          <a:bodyPr>
            <a:normAutofit/>
          </a:bodyPr>
          <a:lstStyle>
            <a:lvl1pPr defTabSz="2145835">
              <a:lnSpc>
                <a:spcPct val="90000"/>
              </a:lnSpc>
              <a:defRPr sz="11440">
                <a:solidFill>
                  <a:schemeClr val="accent1"/>
                </a:solidFill>
              </a:defRPr>
            </a:lvl1pPr>
          </a:lstStyle>
          <a:p>
            <a:r>
              <a:t>00%</a:t>
            </a:r>
          </a:p>
        </p:txBody>
      </p:sp>
      <p:sp>
        <p:nvSpPr>
          <p:cNvPr id="134" name="Texto do Título"/>
          <p:cNvSpPr txBox="1">
            <a:spLocks noGrp="1"/>
          </p:cNvSpPr>
          <p:nvPr>
            <p:ph type="title"/>
          </p:nvPr>
        </p:nvSpPr>
        <p:spPr>
          <a:xfrm>
            <a:off x="576148" y="576073"/>
            <a:ext cx="4950471" cy="28590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defRPr sz="3600"/>
            </a:lvl1pPr>
          </a:lstStyle>
          <a:p>
            <a:r>
              <a:t>Texto do Título</a:t>
            </a:r>
          </a:p>
        </p:txBody>
      </p:sp>
      <p:sp>
        <p:nvSpPr>
          <p:cNvPr id="135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6668370" y="12042777"/>
            <a:ext cx="4952058" cy="1143000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>
              <a:lnSpc>
                <a:spcPct val="120000"/>
              </a:lnSpc>
              <a:defRPr sz="1600">
                <a:latin typeface="IBM Plex Sans"/>
                <a:ea typeface="IBM Plex Sans"/>
                <a:cs typeface="IBM Plex Sans"/>
                <a:sym typeface="IBM Plex Sans"/>
              </a:defRPr>
            </a:pPr>
            <a:endParaRPr/>
          </a:p>
        </p:txBody>
      </p:sp>
      <p:sp>
        <p:nvSpPr>
          <p:cNvPr id="136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6668370" y="2333070"/>
            <a:ext cx="4952058" cy="967304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37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12765165" y="2334656"/>
            <a:ext cx="4953645" cy="9666845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38" name="Text Placeholder 10"/>
          <p:cNvSpPr>
            <a:spLocks noGrp="1"/>
          </p:cNvSpPr>
          <p:nvPr>
            <p:ph type="body" sz="quarter" idx="26"/>
          </p:nvPr>
        </p:nvSpPr>
        <p:spPr>
          <a:xfrm>
            <a:off x="18861959" y="2333069"/>
            <a:ext cx="4953645" cy="9666845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39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23541989" y="12938839"/>
            <a:ext cx="273614" cy="246222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rPr/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33928581"/>
      </p:ext>
    </p:extLst>
  </p:cSld>
  <p:clrMapOvr>
    <a:masterClrMapping/>
  </p:clrMapOvr>
  <p:transition spd="med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24387175" cy="12001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6288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12088368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71501" y="12084739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450754"/>
      </p:ext>
    </p:extLst>
  </p:cSld>
  <p:clrMapOvr>
    <a:masterClrMapping/>
  </p:clrMapOvr>
  <p:transition spd="med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0"/>
            <a:ext cx="24387175" cy="12001500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12088368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71501" y="12084739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602316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7500" y="576072"/>
            <a:ext cx="4956175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9437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0" name="Straight Connector 19" descr="Vertical column divider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3429000"/>
            <a:ext cx="0" cy="8572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1" name="Straight Connector 20" descr="Vertical column divider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12188952" y="3429000"/>
            <a:ext cx="0" cy="85770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2" name="Straight Connector 21" descr="Vertical column divider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18288000" y="3429000"/>
            <a:ext cx="0" cy="85770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310234"/>
      </p:ext>
    </p:extLst>
  </p:cSld>
  <p:clrMapOvr>
    <a:masterClrMapping/>
  </p:clrMapOvr>
  <p:transition spd="med"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/>
          <a:lstStyle>
            <a:lvl1pPr>
              <a:lnSpc>
                <a:spcPct val="100000"/>
              </a:lnSpc>
              <a:defRPr sz="8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A09496-D938-6EB1-106C-48C5E423E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909011"/>
      </p:ext>
    </p:extLst>
  </p:cSld>
  <p:clrMapOvr>
    <a:masterClrMapping/>
  </p:clrMapOvr>
  <p:transition spd="med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45735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6072" y="12463272"/>
            <a:ext cx="11050588" cy="762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819100"/>
      </p:ext>
    </p:extLst>
  </p:cSld>
  <p:clrMapOvr>
    <a:masterClrMapping/>
  </p:clrMapOvr>
  <p:transition spd="med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0101072" cy="10479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7850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6792276"/>
      </p:ext>
    </p:extLst>
  </p:cSld>
  <p:clrMapOvr>
    <a:masterClrMapping/>
  </p:clrMapOvr>
  <p:transition spd="med"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527048"/>
            <a:ext cx="10099675" cy="9337675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576072"/>
            <a:ext cx="10099675" cy="571500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E0A3D1-7815-E46E-77D1-E2DC099B47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7850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481488"/>
      </p:ext>
    </p:extLst>
  </p:cSld>
  <p:clrMapOvr>
    <a:masterClrMapping/>
  </p:clrMapOvr>
  <p:transition spd="med"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56175" cy="4573587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862675" y="569913"/>
            <a:ext cx="4949825" cy="11431587"/>
          </a:xfrm>
        </p:spPr>
        <p:txBody>
          <a:bodyPr/>
          <a:lstStyle>
            <a:lvl1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677192138"/>
      </p:ext>
    </p:extLst>
  </p:cSld>
  <p:clrMapOvr>
    <a:masterClrMapping/>
  </p:clrMapOvr>
  <p:transition spd="med"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2859087"/>
          </a:xfrm>
        </p:spPr>
        <p:txBody>
          <a:bodyPr rIns="457200"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636389537"/>
      </p:ext>
    </p:extLst>
  </p:cSld>
  <p:clrMapOvr>
    <a:masterClrMapping/>
  </p:clrMapOvr>
  <p:transition spd="med"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420624"/>
            <a:ext cx="17141825" cy="8191500"/>
          </a:xfrm>
        </p:spPr>
        <p:txBody>
          <a:bodyPr/>
          <a:lstStyle>
            <a:lvl1pPr>
              <a:defRPr sz="17200" b="0" i="0">
                <a:solidFill>
                  <a:schemeClr val="tx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25422664"/>
      </p:ext>
    </p:extLst>
  </p:cSld>
  <p:clrMapOvr>
    <a:masterClrMapping/>
  </p:clrMapOvr>
  <p:transition spd="med"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9909175" cy="2859087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67252" y="448056"/>
            <a:ext cx="11042073" cy="8574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 marL="585216" indent="-585216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2pPr>
            <a:lvl3pPr marL="1097280" indent="-585216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3pPr>
            <a:lvl4pPr marL="1755648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77159959"/>
      </p:ext>
    </p:extLst>
  </p:cSld>
  <p:clrMapOvr>
    <a:masterClrMapping/>
  </p:clrMapOvr>
  <p:transition spd="med"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420624"/>
            <a:ext cx="14662150" cy="9717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19605503"/>
      </p:ext>
    </p:extLst>
  </p:cSld>
  <p:clrMapOvr>
    <a:masterClrMapping/>
  </p:clrMapOvr>
  <p:transition spd="med"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72" y="9299448"/>
            <a:ext cx="11050588" cy="35433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25800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763500" y="9296400"/>
            <a:ext cx="11049000" cy="35433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25800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76072"/>
            <a:ext cx="7620000" cy="6288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576072"/>
            <a:ext cx="7623175" cy="6288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12193587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675851354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4" name="Straight Connector 13" descr="Vertical column divider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7500" y="576072"/>
            <a:ext cx="4956175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8" name="Straight Connector 17" descr="Vertical column divider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9" name="Straight Connector 18" descr="Vertical column divider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707034"/>
      </p:ext>
    </p:extLst>
  </p:cSld>
  <p:clrMapOvr>
    <a:masterClrMapping/>
  </p:clrMapOvr>
  <p:transition spd="med"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768263" y="426481"/>
            <a:ext cx="4949825" cy="1906588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859500" y="429654"/>
            <a:ext cx="4949825" cy="1903413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67500" y="429768"/>
            <a:ext cx="4951413" cy="1907912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2042775"/>
            <a:ext cx="4951413" cy="11430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2333068"/>
            <a:ext cx="4951413" cy="967304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2334654"/>
            <a:ext cx="4953000" cy="966684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2333067"/>
            <a:ext cx="4953000" cy="966684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661183003"/>
      </p:ext>
    </p:extLst>
  </p:cSld>
  <p:clrMapOvr>
    <a:masterClrMapping/>
  </p:clrMapOvr>
  <p:transition spd="med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56832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4675" y="402336"/>
            <a:ext cx="4949825" cy="5335588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402336"/>
            <a:ext cx="11049000" cy="53355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1pPr>
            <a:lvl2pPr marL="786384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2pPr>
            <a:lvl3pPr marL="1499616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3pPr>
            <a:lvl4pPr marL="2286000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4675" y="6477000"/>
            <a:ext cx="4949825" cy="5334000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7500" y="6477000"/>
            <a:ext cx="11049000" cy="533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1pPr>
            <a:lvl2pPr marL="786384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2pPr>
            <a:lvl3pPr marL="1499616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3pPr>
            <a:lvl4pPr marL="2286000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96869106"/>
      </p:ext>
    </p:extLst>
  </p:cSld>
  <p:clrMapOvr>
    <a:masterClrMapping/>
  </p:clrMapOvr>
  <p:transition spd="med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6667500" y="8191500"/>
            <a:ext cx="1714500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6667500" y="4000500"/>
            <a:ext cx="1714500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67500" y="411480"/>
            <a:ext cx="4951413" cy="2859087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2042775"/>
            <a:ext cx="4951413" cy="11430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7620000" cy="2859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4381500"/>
            <a:ext cx="7620000" cy="2857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8572500"/>
            <a:ext cx="7620000" cy="2857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67500" y="4187952"/>
            <a:ext cx="4951413" cy="2857506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67501" y="8403336"/>
            <a:ext cx="4951411" cy="2857506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831674149"/>
      </p:ext>
    </p:extLst>
  </p:cSld>
  <p:clrMapOvr>
    <a:masterClrMapping/>
  </p:clrMapOvr>
  <p:transition spd="med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731327763"/>
      </p:ext>
    </p:extLst>
  </p:cSld>
  <p:clrMapOvr>
    <a:masterClrMapping/>
  </p:clrMapOvr>
  <p:transition spd="med"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7500" y="576072"/>
            <a:ext cx="4956175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9437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3429000"/>
            <a:ext cx="0" cy="8572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12188952" y="3429000"/>
            <a:ext cx="0" cy="85770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18288000" y="3429000"/>
            <a:ext cx="0" cy="85770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599046094"/>
      </p:ext>
    </p:extLst>
  </p:cSld>
  <p:clrMapOvr>
    <a:masterClrMapping/>
  </p:clrMapOvr>
  <p:transition spd="med"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7500" y="576072"/>
            <a:ext cx="4956175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42950996"/>
      </p:ext>
    </p:extLst>
  </p:cSld>
  <p:clrMapOvr>
    <a:masterClrMapping/>
  </p:clrMapOvr>
  <p:transition spd="med"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097087"/>
          </a:xfrm>
        </p:spPr>
        <p:txBody>
          <a:bodyPr/>
          <a:lstStyle>
            <a:lvl1pPr>
              <a:lnSpc>
                <a:spcPct val="11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4956175" cy="40005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7CF39F-F0FC-7815-2582-A13E0599BC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8C92137-8AC3-46D8-C9A2-F6F058938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8031" y="3429000"/>
            <a:ext cx="494212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C380211-AA5F-2F8D-309F-DC766DF1E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1" y="3429000"/>
            <a:ext cx="4952999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667500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2776353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8859500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7196079"/>
      </p:ext>
    </p:extLst>
  </p:cSld>
  <p:clrMapOvr>
    <a:masterClrMapping/>
  </p:clrMapOvr>
  <p:transition spd="med"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49825" cy="1141412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10096500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5976" y="384048"/>
            <a:ext cx="4956175" cy="1141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800"/>
            </a:lvl2pPr>
            <a:lvl3pPr>
              <a:spcBef>
                <a:spcPts val="0"/>
              </a:spcBef>
              <a:defRPr sz="2800"/>
            </a:lvl3pPr>
            <a:lvl4pPr>
              <a:spcBef>
                <a:spcPts val="0"/>
              </a:spcBef>
              <a:defRPr sz="2800"/>
            </a:lvl4pPr>
            <a:lvl5pPr>
              <a:spcBef>
                <a:spcPts val="0"/>
              </a:spcBef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490403"/>
      </p:ext>
    </p:extLst>
  </p:cSld>
  <p:clrMapOvr>
    <a:masterClrMapping/>
  </p:clrMapOvr>
  <p:transition spd="med"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7424927" cy="19065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100996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3429000"/>
            <a:ext cx="100965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203306"/>
      </p:ext>
    </p:extLst>
  </p:cSld>
  <p:clrMapOvr>
    <a:masterClrMapping/>
  </p:clrMapOvr>
  <p:transition spd="med"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45825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76072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859500" y="576072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021556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097087"/>
          </a:xfrm>
        </p:spPr>
        <p:txBody>
          <a:bodyPr/>
          <a:lstStyle>
            <a:lvl1pPr>
              <a:lnSpc>
                <a:spcPct val="11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4956175" cy="40005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 descr="Vertical column divider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Picture Placeholder 13" descr="Place pictogram here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667500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7CF39F-F0FC-7815-2582-A13E0599BC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8" name="Straight Connector 17" descr="Vertical column divider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Picture Placeholder 13" descr="Place pictogram here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2776353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8C92137-8AC3-46D8-C9A2-F6F058938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8031" y="3429000"/>
            <a:ext cx="494212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9" name="Straight Connector 18" descr="Vertical column divider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Picture Placeholder 13" descr="Place pictogram here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8859500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C380211-AA5F-2F8D-309F-DC766DF1E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1" y="3429000"/>
            <a:ext cx="4952999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5899409"/>
      </p:ext>
    </p:extLst>
  </p:cSld>
  <p:clrMapOvr>
    <a:masterClrMapping/>
  </p:clrMapOvr>
  <p:transition spd="med"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53000" cy="4573587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238927"/>
      </p:ext>
    </p:extLst>
  </p:cSld>
  <p:clrMapOvr>
    <a:masterClrMapping/>
  </p:clrMapOvr>
  <p:transition spd="med"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39476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62675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530593"/>
      </p:ext>
    </p:extLst>
  </p:cSld>
  <p:clrMapOvr>
    <a:masterClrMapping/>
  </p:clrMapOvr>
  <p:transition spd="med"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6" cy="4573587"/>
          </a:xfrm>
        </p:spPr>
        <p:txBody>
          <a:bodyPr rIns="0"/>
          <a:lstStyle>
            <a:lvl1pPr>
              <a:lnSpc>
                <a:spcPct val="10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6585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4832239"/>
      </p:ext>
    </p:extLst>
  </p:cSld>
  <p:clrMapOvr>
    <a:masterClrMapping/>
  </p:clrMapOvr>
  <p:transition spd="med"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49825" cy="1141413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638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63638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9151" y="384048"/>
            <a:ext cx="4956175" cy="1141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2800"/>
            </a:lvl2pPr>
            <a:lvl3pPr>
              <a:lnSpc>
                <a:spcPct val="90000"/>
              </a:lnSpc>
              <a:spcBef>
                <a:spcPts val="0"/>
              </a:spcBef>
              <a:defRPr sz="2800"/>
            </a:lvl3pPr>
            <a:lvl4pPr>
              <a:lnSpc>
                <a:spcPct val="90000"/>
              </a:lnSpc>
              <a:spcBef>
                <a:spcPts val="0"/>
              </a:spcBef>
              <a:defRPr sz="2800"/>
            </a:lvl4pPr>
            <a:lvl5pPr>
              <a:lnSpc>
                <a:spcPct val="90000"/>
              </a:lnSpc>
              <a:spcBef>
                <a:spcPts val="0"/>
              </a:spcBef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2763500" y="576072"/>
            <a:ext cx="1216152" cy="121446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8859500" y="576072"/>
            <a:ext cx="1217844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12188952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433835"/>
      </p:ext>
    </p:extLst>
  </p:cSld>
  <p:clrMapOvr>
    <a:masterClrMapping/>
  </p:clrMapOvr>
  <p:transition spd="med"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2478024"/>
            <a:ext cx="6670675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2476500"/>
            <a:ext cx="6667500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2" y="8385048"/>
            <a:ext cx="6670676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1" y="8382000"/>
            <a:ext cx="6667500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6072" y="576072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2763500" y="576072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76072" y="6473951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763500" y="6477000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12192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56832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542540"/>
      </p:ext>
    </p:extLst>
  </p:cSld>
  <p:clrMapOvr>
    <a:masterClrMapping/>
  </p:clrMapOvr>
  <p:transition spd="med"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682496"/>
            <a:ext cx="5715000" cy="2276856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5024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6072" y="576072"/>
            <a:ext cx="4956175" cy="11414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1130113"/>
      </p:ext>
    </p:extLst>
  </p:cSld>
  <p:clrMapOvr>
    <a:masterClrMapping/>
  </p:clrMapOvr>
  <p:transition spd="med"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527048"/>
            <a:ext cx="11044239" cy="2276856"/>
          </a:xfrm>
        </p:spPr>
        <p:txBody>
          <a:bodyPr rIns="457200"/>
          <a:lstStyle>
            <a:lvl1pPr>
              <a:lnSpc>
                <a:spcPct val="11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69913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69913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6072" y="576072"/>
            <a:ext cx="4956175" cy="448056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6232062"/>
      </p:ext>
    </p:extLst>
  </p:cSld>
  <p:clrMapOvr>
    <a:masterClrMapping/>
  </p:clrMapOvr>
  <p:transition spd="med"/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56175" cy="4573587"/>
          </a:xfrm>
        </p:spPr>
        <p:txBody>
          <a:bodyPr/>
          <a:lstStyle>
            <a:lvl1pPr>
              <a:lnSpc>
                <a:spcPct val="10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6656832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3241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76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875742"/>
      </p:ext>
    </p:extLst>
  </p:cSld>
  <p:clrMapOvr>
    <a:masterClrMapping/>
  </p:clrMapOvr>
  <p:transition spd="med"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6656832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9591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76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0766587"/>
      </p:ext>
    </p:extLst>
  </p:cSld>
  <p:clrMapOvr>
    <a:masterClrMapping/>
  </p:clrMapOvr>
  <p:transition spd="med"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4573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D44C30-196F-B4B1-540A-E556579735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65976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B1A268B-43F5-F600-93B7-6248877F5D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669151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5660710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descr="Blue 10 full slide background 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0"/>
            <a:ext cx="24387175" cy="12001500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12088368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71501" y="12084739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4" name="Picture 3" descr="IBM 8-bar logo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230DFDDC-A8D1-D39E-4D5A-D0CB4B4060D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C9C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IBM Consulting / © IBM Corporation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22639105-BBCC-A39F-6186-9396B4443D90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23541592" y="12939014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670438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49825" cy="1141412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5976" y="384048"/>
            <a:ext cx="4956175" cy="1141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800"/>
            </a:lvl2pPr>
            <a:lvl3pPr>
              <a:spcBef>
                <a:spcPts val="0"/>
              </a:spcBef>
              <a:defRPr sz="2800"/>
            </a:lvl3pPr>
            <a:lvl4pPr>
              <a:spcBef>
                <a:spcPts val="0"/>
              </a:spcBef>
              <a:defRPr sz="2800"/>
            </a:lvl4pPr>
            <a:lvl5pPr>
              <a:spcBef>
                <a:spcPts val="0"/>
              </a:spcBef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10096500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649678"/>
      </p:ext>
    </p:extLst>
  </p:cSld>
  <p:clrMapOvr>
    <a:masterClrMapping/>
  </p:clrMapOvr>
  <p:transition spd="med"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7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48C06-F3C6-0E95-A225-29F730DD15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333500"/>
            <a:ext cx="4951413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FD5E03-A007-B728-4616-E05622A43A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1" y="1333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C06719-7195-BBE7-0154-56A039A4B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59501" y="1333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04E464-B0E0-CDD0-B14B-FA6386285A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67500" y="7429500"/>
            <a:ext cx="4951413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96B64B8-6DA8-8704-DD30-37587B3E68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763501" y="7429500"/>
            <a:ext cx="4951413" cy="379268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965C82-A0A6-A670-C10A-6073DD354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8859501" y="7429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667500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763501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8859501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667500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2763501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8859501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1772285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844978"/>
      </p:ext>
    </p:extLst>
  </p:cSld>
  <p:clrMapOvr>
    <a:masterClrMapping/>
  </p:clrMapOvr>
  <p:transition spd="med"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39475" cy="3413126"/>
          </a:xfrm>
        </p:spPr>
        <p:txBody>
          <a:bodyPr rIns="457200"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62675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862675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072" y="6665976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67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57467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0" cy="5905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6556644"/>
      </p:ext>
    </p:extLst>
  </p:cSld>
  <p:clrMapOvr>
    <a:masterClrMapping/>
  </p:clrMapOvr>
  <p:transition spd="med"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3413126"/>
          </a:xfrm>
        </p:spPr>
        <p:txBody>
          <a:bodyPr rIns="0"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62675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862675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016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67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57467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0" cy="5905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736330"/>
      </p:ext>
    </p:extLst>
  </p:cSld>
  <p:clrMapOvr>
    <a:masterClrMapping/>
  </p:clrMapOvr>
  <p:transition spd="med"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1426309525"/>
      </p:ext>
    </p:extLst>
  </p:cSld>
  <p:clrMapOvr>
    <a:masterClrMapping/>
  </p:clrMapOvr>
  <p:transition spd="med"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Nr.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18291175" cy="13716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643217202"/>
      </p:ext>
    </p:extLst>
  </p:cSld>
  <p:clrMapOvr>
    <a:masterClrMapping/>
  </p:clrMapOvr>
  <p:transition spd="med"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Nr.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667500" y="565151"/>
            <a:ext cx="17151350" cy="12579349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17533496"/>
      </p:ext>
    </p:extLst>
  </p:cSld>
  <p:clrMapOvr>
    <a:masterClrMapping/>
  </p:clrMapOvr>
  <p:transition spd="med"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Nr.›</a:t>
            </a:fld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24387174" cy="13715999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080026048"/>
      </p:ext>
    </p:extLst>
  </p:cSld>
  <p:clrMapOvr>
    <a:masterClrMapping/>
  </p:clrMapOvr>
  <p:transition spd="med"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Nr.›</a:t>
            </a:fld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8325" y="569913"/>
            <a:ext cx="23244175" cy="12580936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1140001131"/>
      </p:ext>
    </p:extLst>
  </p:cSld>
  <p:clrMapOvr>
    <a:masterClrMapping/>
  </p:clrMapOvr>
  <p:transition spd="med"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6072" y="61214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29000" y="61214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76072" y="9525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0" y="9525001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072" y="2667000"/>
            <a:ext cx="2473325" cy="2476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429000" y="26670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757150" y="61214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5617825" y="61214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2757150" y="9525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617825" y="9525001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2757150" y="2667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5617825" y="26670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565682"/>
      </p:ext>
    </p:extLst>
  </p:cSld>
  <p:clrMapOvr>
    <a:masterClrMapping/>
  </p:clrMapOvr>
  <p:transition spd="med"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4573587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6667500" y="569913"/>
            <a:ext cx="17145000" cy="114315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3861247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7424927" cy="19065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100996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3429000"/>
            <a:ext cx="100965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4945124"/>
      </p:ext>
    </p:extLst>
  </p:cSld>
  <p:clrMapOvr>
    <a:masterClrMapping/>
  </p:clrMapOvr>
  <p:transition spd="med"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72" y="384048"/>
            <a:ext cx="4956175" cy="2859087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7843820"/>
      </p:ext>
    </p:extLst>
  </p:cSld>
  <p:clrMapOvr>
    <a:masterClrMapping/>
  </p:clrMapOvr>
  <p:transition spd="med"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704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100593"/>
      </p:ext>
    </p:extLst>
  </p:cSld>
  <p:clrMapOvr>
    <a:masterClrMapping/>
  </p:clrMapOvr>
  <p:transition spd="med"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72" y="384048"/>
            <a:ext cx="4956175" cy="2859087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81024" y="1280477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071580"/>
      </p:ext>
    </p:extLst>
  </p:cSld>
  <p:clrMapOvr>
    <a:masterClrMapping/>
  </p:clrMapOvr>
  <p:transition spd="med"/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65371" y="6168460"/>
            <a:ext cx="3456432" cy="137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390689"/>
      </p:ext>
    </p:extLst>
  </p:cSld>
  <p:clrMapOvr>
    <a:masterClrMapping/>
  </p:clrMapOvr>
  <p:transition spd="med"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24387175" cy="12001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6288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12088368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71501" y="12084739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1613372"/>
      </p:ext>
    </p:extLst>
  </p:cSld>
  <p:clrMapOvr>
    <a:masterClrMapping/>
  </p:clrMapOvr>
  <p:transition spd="med"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0"/>
            <a:ext cx="24387175" cy="12001500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12088368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71501" y="12084739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667664"/>
      </p:ext>
    </p:extLst>
  </p:cSld>
  <p:clrMapOvr>
    <a:masterClrMapping/>
  </p:clrMapOvr>
  <p:transition spd="med"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/>
          <a:lstStyle>
            <a:lvl1pPr>
              <a:lnSpc>
                <a:spcPct val="100000"/>
              </a:lnSpc>
              <a:defRPr sz="8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A09496-D938-6EB1-106C-48C5E423E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799108"/>
      </p:ext>
    </p:extLst>
  </p:cSld>
  <p:clrMapOvr>
    <a:masterClrMapping/>
  </p:clrMapOvr>
  <p:transition spd="med"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45735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6072" y="12463272"/>
            <a:ext cx="11050588" cy="762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429294"/>
      </p:ext>
    </p:extLst>
  </p:cSld>
  <p:clrMapOvr>
    <a:masterClrMapping/>
  </p:clrMapOvr>
  <p:transition spd="med"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0101072" cy="10479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7850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486440"/>
      </p:ext>
    </p:extLst>
  </p:cSld>
  <p:clrMapOvr>
    <a:masterClrMapping/>
  </p:clrMapOvr>
  <p:transition spd="med"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527048"/>
            <a:ext cx="10099675" cy="9337675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576072"/>
            <a:ext cx="10099675" cy="571500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E0A3D1-7815-E46E-77D1-E2DC099B47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7850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177995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45825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76072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859500" y="576072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821703"/>
      </p:ext>
    </p:extLst>
  </p:cSld>
  <p:clrMapOvr>
    <a:masterClrMapping/>
  </p:clrMapOvr>
  <p:transition spd="med"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56175" cy="4573587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862675" y="569913"/>
            <a:ext cx="4949825" cy="11431587"/>
          </a:xfrm>
        </p:spPr>
        <p:txBody>
          <a:bodyPr/>
          <a:lstStyle>
            <a:lvl1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410187840"/>
      </p:ext>
    </p:extLst>
  </p:cSld>
  <p:clrMapOvr>
    <a:masterClrMapping/>
  </p:clrMapOvr>
  <p:transition spd="med"/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2859087"/>
          </a:xfrm>
        </p:spPr>
        <p:txBody>
          <a:bodyPr rIns="457200"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707401267"/>
      </p:ext>
    </p:extLst>
  </p:cSld>
  <p:clrMapOvr>
    <a:masterClrMapping/>
  </p:clrMapOvr>
  <p:transition spd="med"/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420624"/>
            <a:ext cx="17141825" cy="8191500"/>
          </a:xfrm>
        </p:spPr>
        <p:txBody>
          <a:bodyPr/>
          <a:lstStyle>
            <a:lvl1pPr>
              <a:defRPr sz="17200" b="0" i="0">
                <a:solidFill>
                  <a:schemeClr val="tx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569528301"/>
      </p:ext>
    </p:extLst>
  </p:cSld>
  <p:clrMapOvr>
    <a:masterClrMapping/>
  </p:clrMapOvr>
  <p:transition spd="med"/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9909175" cy="2859087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67252" y="448056"/>
            <a:ext cx="11042073" cy="8574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 marL="585216" indent="-585216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2pPr>
            <a:lvl3pPr marL="1097280" indent="-585216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3pPr>
            <a:lvl4pPr marL="1755648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075955211"/>
      </p:ext>
    </p:extLst>
  </p:cSld>
  <p:clrMapOvr>
    <a:masterClrMapping/>
  </p:clrMapOvr>
  <p:transition spd="med"/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420624"/>
            <a:ext cx="14662150" cy="9717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265932039"/>
      </p:ext>
    </p:extLst>
  </p:cSld>
  <p:clrMapOvr>
    <a:masterClrMapping/>
  </p:clrMapOvr>
  <p:transition spd="med"/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72" y="9299448"/>
            <a:ext cx="11050588" cy="35433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25800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763500" y="9296400"/>
            <a:ext cx="11049000" cy="35433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25800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76072"/>
            <a:ext cx="7620000" cy="6288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576072"/>
            <a:ext cx="7623175" cy="6288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12193587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816736076"/>
      </p:ext>
    </p:extLst>
  </p:cSld>
  <p:clrMapOvr>
    <a:masterClrMapping/>
  </p:clrMapOvr>
  <p:transition spd="med"/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768263" y="426481"/>
            <a:ext cx="4949825" cy="1906588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859500" y="429654"/>
            <a:ext cx="4949825" cy="1903413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67500" y="429768"/>
            <a:ext cx="4951413" cy="1907912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2042775"/>
            <a:ext cx="4951413" cy="11430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2333068"/>
            <a:ext cx="4951413" cy="967304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2334654"/>
            <a:ext cx="4953000" cy="966684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2333067"/>
            <a:ext cx="4953000" cy="966684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980170561"/>
      </p:ext>
    </p:extLst>
  </p:cSld>
  <p:clrMapOvr>
    <a:masterClrMapping/>
  </p:clrMapOvr>
  <p:transition spd="med"/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56832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4675" y="402336"/>
            <a:ext cx="4949825" cy="5335588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402336"/>
            <a:ext cx="11049000" cy="53355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1pPr>
            <a:lvl2pPr marL="786384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2pPr>
            <a:lvl3pPr marL="1499616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3pPr>
            <a:lvl4pPr marL="2286000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4675" y="6477000"/>
            <a:ext cx="4949825" cy="5334000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7500" y="6477000"/>
            <a:ext cx="11049000" cy="533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1pPr>
            <a:lvl2pPr marL="786384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2pPr>
            <a:lvl3pPr marL="1499616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3pPr>
            <a:lvl4pPr marL="2286000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792744772"/>
      </p:ext>
    </p:extLst>
  </p:cSld>
  <p:clrMapOvr>
    <a:masterClrMapping/>
  </p:clrMapOvr>
  <p:transition spd="med"/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6667500" y="8191500"/>
            <a:ext cx="1714500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6667500" y="4000500"/>
            <a:ext cx="1714500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67500" y="411480"/>
            <a:ext cx="4951413" cy="2859087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2042775"/>
            <a:ext cx="4951413" cy="11430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7620000" cy="2859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4381500"/>
            <a:ext cx="7620000" cy="2857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8572500"/>
            <a:ext cx="7620000" cy="2857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67500" y="4187952"/>
            <a:ext cx="4951413" cy="2857506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67501" y="8403336"/>
            <a:ext cx="4951411" cy="2857506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755047626"/>
      </p:ext>
    </p:extLst>
  </p:cSld>
  <p:clrMapOvr>
    <a:masterClrMapping/>
  </p:clrMapOvr>
  <p:transition spd="med"/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344457240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53000" cy="4573587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956051"/>
      </p:ext>
    </p:extLst>
  </p:cSld>
  <p:clrMapOvr>
    <a:masterClrMapping/>
  </p:clrMapOvr>
  <p:transition spd="med"/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7500" y="576072"/>
            <a:ext cx="4956175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9437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3429000"/>
            <a:ext cx="0" cy="8572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12188952" y="3429000"/>
            <a:ext cx="0" cy="85770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18288000" y="3429000"/>
            <a:ext cx="0" cy="85770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838868487"/>
      </p:ext>
    </p:extLst>
  </p:cSld>
  <p:clrMapOvr>
    <a:masterClrMapping/>
  </p:clrMapOvr>
  <p:transition spd="med"/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7500" y="576072"/>
            <a:ext cx="4956175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674876122"/>
      </p:ext>
    </p:extLst>
  </p:cSld>
  <p:clrMapOvr>
    <a:masterClrMapping/>
  </p:clrMapOvr>
  <p:transition spd="med"/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097087"/>
          </a:xfrm>
        </p:spPr>
        <p:txBody>
          <a:bodyPr/>
          <a:lstStyle>
            <a:lvl1pPr>
              <a:lnSpc>
                <a:spcPct val="11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4956175" cy="40005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7CF39F-F0FC-7815-2582-A13E0599BC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8C92137-8AC3-46D8-C9A2-F6F058938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8031" y="3429000"/>
            <a:ext cx="494212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C380211-AA5F-2F8D-309F-DC766DF1E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1" y="3429000"/>
            <a:ext cx="4952999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667500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2776353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8859500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405144"/>
      </p:ext>
    </p:extLst>
  </p:cSld>
  <p:clrMapOvr>
    <a:masterClrMapping/>
  </p:clrMapOvr>
  <p:transition spd="med"/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49825" cy="1141412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10096500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5976" y="384048"/>
            <a:ext cx="4956175" cy="1141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800"/>
            </a:lvl2pPr>
            <a:lvl3pPr>
              <a:spcBef>
                <a:spcPts val="0"/>
              </a:spcBef>
              <a:defRPr sz="2800"/>
            </a:lvl3pPr>
            <a:lvl4pPr>
              <a:spcBef>
                <a:spcPts val="0"/>
              </a:spcBef>
              <a:defRPr sz="2800"/>
            </a:lvl4pPr>
            <a:lvl5pPr>
              <a:spcBef>
                <a:spcPts val="0"/>
              </a:spcBef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9166086"/>
      </p:ext>
    </p:extLst>
  </p:cSld>
  <p:clrMapOvr>
    <a:masterClrMapping/>
  </p:clrMapOvr>
  <p:transition spd="med"/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7424927" cy="19065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100996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3429000"/>
            <a:ext cx="100965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4088680"/>
      </p:ext>
    </p:extLst>
  </p:cSld>
  <p:clrMapOvr>
    <a:masterClrMapping/>
  </p:clrMapOvr>
  <p:transition spd="med"/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45825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76072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859500" y="576072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2129400"/>
      </p:ext>
    </p:extLst>
  </p:cSld>
  <p:clrMapOvr>
    <a:masterClrMapping/>
  </p:clrMapOvr>
  <p:transition spd="med"/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53000" cy="4573587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967754"/>
      </p:ext>
    </p:extLst>
  </p:cSld>
  <p:clrMapOvr>
    <a:masterClrMapping/>
  </p:clrMapOvr>
  <p:transition spd="med"/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39476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62675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795002"/>
      </p:ext>
    </p:extLst>
  </p:cSld>
  <p:clrMapOvr>
    <a:masterClrMapping/>
  </p:clrMapOvr>
  <p:transition spd="med"/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6" cy="4573587"/>
          </a:xfrm>
        </p:spPr>
        <p:txBody>
          <a:bodyPr rIns="0"/>
          <a:lstStyle>
            <a:lvl1pPr>
              <a:lnSpc>
                <a:spcPct val="10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6585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0175814"/>
      </p:ext>
    </p:extLst>
  </p:cSld>
  <p:clrMapOvr>
    <a:masterClrMapping/>
  </p:clrMapOvr>
  <p:transition spd="med"/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49825" cy="1141413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638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63638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9151" y="384048"/>
            <a:ext cx="4956175" cy="1141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2800"/>
            </a:lvl2pPr>
            <a:lvl3pPr>
              <a:lnSpc>
                <a:spcPct val="90000"/>
              </a:lnSpc>
              <a:spcBef>
                <a:spcPts val="0"/>
              </a:spcBef>
              <a:defRPr sz="2800"/>
            </a:lvl3pPr>
            <a:lvl4pPr>
              <a:lnSpc>
                <a:spcPct val="90000"/>
              </a:lnSpc>
              <a:spcBef>
                <a:spcPts val="0"/>
              </a:spcBef>
              <a:defRPr sz="2800"/>
            </a:lvl4pPr>
            <a:lvl5pPr>
              <a:lnSpc>
                <a:spcPct val="90000"/>
              </a:lnSpc>
              <a:spcBef>
                <a:spcPts val="0"/>
              </a:spcBef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2763500" y="576072"/>
            <a:ext cx="1216152" cy="121446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8859500" y="576072"/>
            <a:ext cx="1217844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12188952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972462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39476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62675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70831"/>
      </p:ext>
    </p:extLst>
  </p:cSld>
  <p:clrMapOvr>
    <a:masterClrMapping/>
  </p:clrMapOvr>
  <p:transition spd="med"/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2478024"/>
            <a:ext cx="6670675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2476500"/>
            <a:ext cx="6667500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2" y="8385048"/>
            <a:ext cx="6670676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1" y="8382000"/>
            <a:ext cx="6667500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6072" y="576072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2763500" y="576072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76072" y="6473951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763500" y="6477000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12192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56832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43585"/>
      </p:ext>
    </p:extLst>
  </p:cSld>
  <p:clrMapOvr>
    <a:masterClrMapping/>
  </p:clrMapOvr>
  <p:transition spd="med"/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682496"/>
            <a:ext cx="5715000" cy="2276856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5024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6072" y="576072"/>
            <a:ext cx="4956175" cy="11414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801692"/>
      </p:ext>
    </p:extLst>
  </p:cSld>
  <p:clrMapOvr>
    <a:masterClrMapping/>
  </p:clrMapOvr>
  <p:transition spd="med"/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527048"/>
            <a:ext cx="11044239" cy="2276856"/>
          </a:xfrm>
        </p:spPr>
        <p:txBody>
          <a:bodyPr rIns="457200"/>
          <a:lstStyle>
            <a:lvl1pPr>
              <a:lnSpc>
                <a:spcPct val="11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69913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69913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6072" y="576072"/>
            <a:ext cx="4956175" cy="448056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286204"/>
      </p:ext>
    </p:extLst>
  </p:cSld>
  <p:clrMapOvr>
    <a:masterClrMapping/>
  </p:clrMapOvr>
  <p:transition spd="med"/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56175" cy="4573587"/>
          </a:xfrm>
        </p:spPr>
        <p:txBody>
          <a:bodyPr/>
          <a:lstStyle>
            <a:lvl1pPr>
              <a:lnSpc>
                <a:spcPct val="10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6656832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3241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76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843109"/>
      </p:ext>
    </p:extLst>
  </p:cSld>
  <p:clrMapOvr>
    <a:masterClrMapping/>
  </p:clrMapOvr>
  <p:transition spd="med"/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6656832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9591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76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3879261"/>
      </p:ext>
    </p:extLst>
  </p:cSld>
  <p:clrMapOvr>
    <a:masterClrMapping/>
  </p:clrMapOvr>
  <p:transition spd="med"/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4573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D44C30-196F-B4B1-540A-E556579735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65976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B1A268B-43F5-F600-93B7-6248877F5D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669151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1900944"/>
      </p:ext>
    </p:extLst>
  </p:cSld>
  <p:clrMapOvr>
    <a:masterClrMapping/>
  </p:clrMapOvr>
  <p:transition spd="med"/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7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48C06-F3C6-0E95-A225-29F730DD15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333500"/>
            <a:ext cx="4951413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FD5E03-A007-B728-4616-E05622A43A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1" y="1333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C06719-7195-BBE7-0154-56A039A4B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59501" y="1333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04E464-B0E0-CDD0-B14B-FA6386285A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67500" y="7429500"/>
            <a:ext cx="4951413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96B64B8-6DA8-8704-DD30-37587B3E68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763501" y="7429500"/>
            <a:ext cx="4951413" cy="379268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965C82-A0A6-A670-C10A-6073DD354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8859501" y="7429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667500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763501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8859501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667500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2763501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8859501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1772285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053095"/>
      </p:ext>
    </p:extLst>
  </p:cSld>
  <p:clrMapOvr>
    <a:masterClrMapping/>
  </p:clrMapOvr>
  <p:transition spd="med"/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39475" cy="3413126"/>
          </a:xfrm>
        </p:spPr>
        <p:txBody>
          <a:bodyPr rIns="457200"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62675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862675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072" y="6665976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67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57467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0" cy="5905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977184"/>
      </p:ext>
    </p:extLst>
  </p:cSld>
  <p:clrMapOvr>
    <a:masterClrMapping/>
  </p:clrMapOvr>
  <p:transition spd="med"/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3413126"/>
          </a:xfrm>
        </p:spPr>
        <p:txBody>
          <a:bodyPr rIns="0"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62675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862675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016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67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57467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0" cy="5905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59879"/>
      </p:ext>
    </p:extLst>
  </p:cSld>
  <p:clrMapOvr>
    <a:masterClrMapping/>
  </p:clrMapOvr>
  <p:transition spd="med"/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008666868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6" cy="4573587"/>
          </a:xfrm>
        </p:spPr>
        <p:txBody>
          <a:bodyPr rIns="0"/>
          <a:lstStyle>
            <a:lvl1pPr>
              <a:lnSpc>
                <a:spcPct val="10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6585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240754"/>
      </p:ext>
    </p:extLst>
  </p:cSld>
  <p:clrMapOvr>
    <a:masterClrMapping/>
  </p:clrMapOvr>
  <p:transition spd="med"/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Nr.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18291175" cy="13716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288597898"/>
      </p:ext>
    </p:extLst>
  </p:cSld>
  <p:clrMapOvr>
    <a:masterClrMapping/>
  </p:clrMapOvr>
  <p:transition spd="med"/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Nr.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667500" y="565151"/>
            <a:ext cx="17151350" cy="12579349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819465049"/>
      </p:ext>
    </p:extLst>
  </p:cSld>
  <p:clrMapOvr>
    <a:masterClrMapping/>
  </p:clrMapOvr>
  <p:transition spd="med"/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Nr.›</a:t>
            </a:fld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24387174" cy="13715999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804675075"/>
      </p:ext>
    </p:extLst>
  </p:cSld>
  <p:clrMapOvr>
    <a:masterClrMapping/>
  </p:clrMapOvr>
  <p:transition spd="med"/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Nr.›</a:t>
            </a:fld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8325" y="569913"/>
            <a:ext cx="23244175" cy="12580936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803330729"/>
      </p:ext>
    </p:extLst>
  </p:cSld>
  <p:clrMapOvr>
    <a:masterClrMapping/>
  </p:clrMapOvr>
  <p:transition spd="med"/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6072" y="61214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29000" y="61214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76072" y="9525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0" y="9525001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072" y="2667000"/>
            <a:ext cx="2473325" cy="2476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429000" y="26670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757150" y="61214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5617825" y="61214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2757150" y="9525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617825" y="9525001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2757150" y="2667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5617825" y="26670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7084337"/>
      </p:ext>
    </p:extLst>
  </p:cSld>
  <p:clrMapOvr>
    <a:masterClrMapping/>
  </p:clrMapOvr>
  <p:transition spd="med"/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4573587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6667500" y="569913"/>
            <a:ext cx="17145000" cy="114315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515010"/>
      </p:ext>
    </p:extLst>
  </p:cSld>
  <p:clrMapOvr>
    <a:masterClrMapping/>
  </p:clrMapOvr>
  <p:transition spd="med"/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72" y="384048"/>
            <a:ext cx="4956175" cy="2859087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4901949"/>
      </p:ext>
    </p:extLst>
  </p:cSld>
  <p:clrMapOvr>
    <a:masterClrMapping/>
  </p:clrMapOvr>
  <p:transition spd="med"/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704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8732128"/>
      </p:ext>
    </p:extLst>
  </p:cSld>
  <p:clrMapOvr>
    <a:masterClrMapping/>
  </p:clrMapOvr>
  <p:transition spd="med"/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72" y="384048"/>
            <a:ext cx="4956175" cy="2859087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81024" y="1280477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3856990"/>
      </p:ext>
    </p:extLst>
  </p:cSld>
  <p:clrMapOvr>
    <a:masterClrMapping/>
  </p:clrMapOvr>
  <p:transition spd="med"/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65371" y="6168460"/>
            <a:ext cx="3456432" cy="137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751051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49825" cy="1141413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9151" y="384048"/>
            <a:ext cx="4956175" cy="1141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2800"/>
            </a:lvl2pPr>
            <a:lvl3pPr>
              <a:lnSpc>
                <a:spcPct val="90000"/>
              </a:lnSpc>
              <a:spcBef>
                <a:spcPts val="0"/>
              </a:spcBef>
              <a:defRPr sz="2800"/>
            </a:lvl3pPr>
            <a:lvl4pPr>
              <a:lnSpc>
                <a:spcPct val="90000"/>
              </a:lnSpc>
              <a:spcBef>
                <a:spcPts val="0"/>
              </a:spcBef>
              <a:defRPr sz="2800"/>
            </a:lvl4pPr>
            <a:lvl5pPr>
              <a:lnSpc>
                <a:spcPct val="90000"/>
              </a:lnSpc>
              <a:spcBef>
                <a:spcPts val="0"/>
              </a:spcBef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3" name="Straight Connector 12" descr="Vertical column divider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12188952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Picture Placeholder 4" descr="Place pictogram here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2763500" y="576072"/>
            <a:ext cx="1216152" cy="121446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638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 descr="Vertical column divider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Picture Placeholder 11" descr="Place pictogram here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8859500" y="576072"/>
            <a:ext cx="1217844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63638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412524"/>
      </p:ext>
    </p:extLst>
  </p:cSld>
  <p:clrMapOvr>
    <a:masterClrMapping/>
  </p:clrMapOvr>
  <p:transition spd="med"/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114523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2778880" y="536448"/>
            <a:ext cx="10998616" cy="114523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327783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24387175" cy="12001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6288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12088368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71501" y="12084739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534452"/>
      </p:ext>
    </p:extLst>
  </p:cSld>
  <p:clrMapOvr>
    <a:masterClrMapping/>
  </p:clrMapOvr>
  <p:transition spd="med"/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0"/>
            <a:ext cx="24387175" cy="12001500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12088368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71501" y="12084739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173843"/>
      </p:ext>
    </p:extLst>
  </p:cSld>
  <p:clrMapOvr>
    <a:masterClrMapping/>
  </p:clrMapOvr>
  <p:transition spd="med"/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/>
          <a:lstStyle>
            <a:lvl1pPr>
              <a:lnSpc>
                <a:spcPct val="100000"/>
              </a:lnSpc>
              <a:defRPr sz="8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A09496-D938-6EB1-106C-48C5E423E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565908"/>
      </p:ext>
    </p:extLst>
  </p:cSld>
  <p:clrMapOvr>
    <a:masterClrMapping/>
  </p:clrMapOvr>
  <p:transition spd="med"/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45735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6072" y="12463272"/>
            <a:ext cx="11050588" cy="762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176607"/>
      </p:ext>
    </p:extLst>
  </p:cSld>
  <p:clrMapOvr>
    <a:masterClrMapping/>
  </p:clrMapOvr>
  <p:transition spd="med"/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0101072" cy="10479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7850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994743"/>
      </p:ext>
    </p:extLst>
  </p:cSld>
  <p:clrMapOvr>
    <a:masterClrMapping/>
  </p:clrMapOvr>
  <p:transition spd="med"/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527048"/>
            <a:ext cx="10099675" cy="9337675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576072"/>
            <a:ext cx="10099675" cy="571500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E0A3D1-7815-E46E-77D1-E2DC099B47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7850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099751"/>
      </p:ext>
    </p:extLst>
  </p:cSld>
  <p:clrMapOvr>
    <a:masterClrMapping/>
  </p:clrMapOvr>
  <p:transition spd="med"/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56175" cy="4573587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862675" y="569913"/>
            <a:ext cx="4949825" cy="11431587"/>
          </a:xfrm>
        </p:spPr>
        <p:txBody>
          <a:bodyPr/>
          <a:lstStyle>
            <a:lvl1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062199545"/>
      </p:ext>
    </p:extLst>
  </p:cSld>
  <p:clrMapOvr>
    <a:masterClrMapping/>
  </p:clrMapOvr>
  <p:transition spd="med"/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2859087"/>
          </a:xfrm>
        </p:spPr>
        <p:txBody>
          <a:bodyPr rIns="457200"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124711903"/>
      </p:ext>
    </p:extLst>
  </p:cSld>
  <p:clrMapOvr>
    <a:masterClrMapping/>
  </p:clrMapOvr>
  <p:transition spd="med"/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420624"/>
            <a:ext cx="17141825" cy="8191500"/>
          </a:xfrm>
        </p:spPr>
        <p:txBody>
          <a:bodyPr/>
          <a:lstStyle>
            <a:lvl1pPr>
              <a:defRPr sz="17200" b="0" i="0">
                <a:solidFill>
                  <a:schemeClr val="tx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562958919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 descr="Place pictogram here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6072" y="576072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2478024"/>
            <a:ext cx="6670675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 descr="Vertical column divider">
            <a:extLst>
              <a:ext uri="{FF2B5EF4-FFF2-40B4-BE49-F238E27FC236}">
                <a16:creationId xmlns:a16="http://schemas.microsoft.com/office/drawing/2014/main" id="{00A530A6-2F26-DA70-D0D9-6DD90453CE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12192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Picture Placeholder 14" descr="Place pictogram here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2763500" y="576072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2476500"/>
            <a:ext cx="6667500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6" name="Straight Connector 15" descr="Horizontal row divider">
            <a:extLst>
              <a:ext uri="{FF2B5EF4-FFF2-40B4-BE49-F238E27FC236}">
                <a16:creationId xmlns:a16="http://schemas.microsoft.com/office/drawing/2014/main" id="{9C5483A0-0E31-72CE-21C3-6248FAEBC09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56832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Picture Placeholder 16" descr="Place pictogram here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76072" y="6473951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2" y="8385048"/>
            <a:ext cx="6670676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Picture Placeholder 18" descr="Place pictogram here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763500" y="6477000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1" y="8382000"/>
            <a:ext cx="6667500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0496384"/>
      </p:ext>
    </p:extLst>
  </p:cSld>
  <p:clrMapOvr>
    <a:masterClrMapping/>
  </p:clrMapOvr>
  <p:transition spd="med"/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9909175" cy="2859087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67252" y="448056"/>
            <a:ext cx="11042073" cy="8574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 marL="585216" indent="-585216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2pPr>
            <a:lvl3pPr marL="1097280" indent="-585216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3pPr>
            <a:lvl4pPr marL="1755648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63662422"/>
      </p:ext>
    </p:extLst>
  </p:cSld>
  <p:clrMapOvr>
    <a:masterClrMapping/>
  </p:clrMapOvr>
  <p:transition spd="med"/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420624"/>
            <a:ext cx="14662150" cy="9717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511784029"/>
      </p:ext>
    </p:extLst>
  </p:cSld>
  <p:clrMapOvr>
    <a:masterClrMapping/>
  </p:clrMapOvr>
  <p:transition spd="med"/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72" y="9299448"/>
            <a:ext cx="11050588" cy="35433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25800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763500" y="9296400"/>
            <a:ext cx="11049000" cy="35433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25800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76072"/>
            <a:ext cx="7620000" cy="6288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576072"/>
            <a:ext cx="7623175" cy="6288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12193587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00578520"/>
      </p:ext>
    </p:extLst>
  </p:cSld>
  <p:clrMapOvr>
    <a:masterClrMapping/>
  </p:clrMapOvr>
  <p:transition spd="med"/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768263" y="426481"/>
            <a:ext cx="4949825" cy="1906588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859500" y="429654"/>
            <a:ext cx="4949825" cy="1903413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67500" y="429768"/>
            <a:ext cx="4951413" cy="1907912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2042775"/>
            <a:ext cx="4951413" cy="11430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2333068"/>
            <a:ext cx="4951413" cy="967304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2334654"/>
            <a:ext cx="4953000" cy="966684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2333067"/>
            <a:ext cx="4953000" cy="966684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072262047"/>
      </p:ext>
    </p:extLst>
  </p:cSld>
  <p:clrMapOvr>
    <a:masterClrMapping/>
  </p:clrMapOvr>
  <p:transition spd="med"/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56832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4675" y="402336"/>
            <a:ext cx="4949825" cy="5335588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402336"/>
            <a:ext cx="11049000" cy="53355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1pPr>
            <a:lvl2pPr marL="786384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2pPr>
            <a:lvl3pPr marL="1499616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3pPr>
            <a:lvl4pPr marL="2286000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4675" y="6477000"/>
            <a:ext cx="4949825" cy="5334000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7500" y="6477000"/>
            <a:ext cx="11049000" cy="533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1pPr>
            <a:lvl2pPr marL="786384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2pPr>
            <a:lvl3pPr marL="1499616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3pPr>
            <a:lvl4pPr marL="2286000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189151008"/>
      </p:ext>
    </p:extLst>
  </p:cSld>
  <p:clrMapOvr>
    <a:masterClrMapping/>
  </p:clrMapOvr>
  <p:transition spd="med"/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6667500" y="8191500"/>
            <a:ext cx="1714500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6667500" y="4000500"/>
            <a:ext cx="1714500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67500" y="411480"/>
            <a:ext cx="4951413" cy="2859087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2042775"/>
            <a:ext cx="4951413" cy="11430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7620000" cy="2859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4381500"/>
            <a:ext cx="7620000" cy="2857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8572500"/>
            <a:ext cx="7620000" cy="2857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67500" y="4187952"/>
            <a:ext cx="4951413" cy="2857506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67501" y="8403336"/>
            <a:ext cx="4951411" cy="2857506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92673576"/>
      </p:ext>
    </p:extLst>
  </p:cSld>
  <p:clrMapOvr>
    <a:masterClrMapping/>
  </p:clrMapOvr>
  <p:transition spd="med"/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150877809"/>
      </p:ext>
    </p:extLst>
  </p:cSld>
  <p:clrMapOvr>
    <a:masterClrMapping/>
  </p:clrMapOvr>
  <p:transition spd="med"/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7500" y="576072"/>
            <a:ext cx="4956175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9437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3429000"/>
            <a:ext cx="0" cy="8572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12188952" y="3429000"/>
            <a:ext cx="0" cy="85770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18288000" y="3429000"/>
            <a:ext cx="0" cy="85770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073647201"/>
      </p:ext>
    </p:extLst>
  </p:cSld>
  <p:clrMapOvr>
    <a:masterClrMapping/>
  </p:clrMapOvr>
  <p:transition spd="med"/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7500" y="576072"/>
            <a:ext cx="4956175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946674933"/>
      </p:ext>
    </p:extLst>
  </p:cSld>
  <p:clrMapOvr>
    <a:masterClrMapping/>
  </p:clrMapOvr>
  <p:transition spd="med"/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097087"/>
          </a:xfrm>
        </p:spPr>
        <p:txBody>
          <a:bodyPr/>
          <a:lstStyle>
            <a:lvl1pPr>
              <a:lnSpc>
                <a:spcPct val="11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4956175" cy="40005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7CF39F-F0FC-7815-2582-A13E0599BC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8C92137-8AC3-46D8-C9A2-F6F058938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8031" y="3429000"/>
            <a:ext cx="494212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C380211-AA5F-2F8D-309F-DC766DF1E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1" y="3429000"/>
            <a:ext cx="4952999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667500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2776353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8859500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972218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6072" y="576072"/>
            <a:ext cx="4956175" cy="11414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682496"/>
            <a:ext cx="5715000" cy="2276856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5024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33241"/>
      </p:ext>
    </p:extLst>
  </p:cSld>
  <p:clrMapOvr>
    <a:masterClrMapping/>
  </p:clrMapOvr>
  <p:transition spd="med"/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49825" cy="1141412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10096500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5976" y="384048"/>
            <a:ext cx="4956175" cy="1141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800"/>
            </a:lvl2pPr>
            <a:lvl3pPr>
              <a:spcBef>
                <a:spcPts val="0"/>
              </a:spcBef>
              <a:defRPr sz="2800"/>
            </a:lvl3pPr>
            <a:lvl4pPr>
              <a:spcBef>
                <a:spcPts val="0"/>
              </a:spcBef>
              <a:defRPr sz="2800"/>
            </a:lvl4pPr>
            <a:lvl5pPr>
              <a:spcBef>
                <a:spcPts val="0"/>
              </a:spcBef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8498"/>
      </p:ext>
    </p:extLst>
  </p:cSld>
  <p:clrMapOvr>
    <a:masterClrMapping/>
  </p:clrMapOvr>
  <p:transition spd="med"/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7424927" cy="19065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100996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3429000"/>
            <a:ext cx="100965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653525"/>
      </p:ext>
    </p:extLst>
  </p:cSld>
  <p:clrMapOvr>
    <a:masterClrMapping/>
  </p:clrMapOvr>
  <p:transition spd="med"/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45825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76072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859500" y="576072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205137"/>
      </p:ext>
    </p:extLst>
  </p:cSld>
  <p:clrMapOvr>
    <a:masterClrMapping/>
  </p:clrMapOvr>
  <p:transition spd="med"/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53000" cy="4573587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2851368"/>
      </p:ext>
    </p:extLst>
  </p:cSld>
  <p:clrMapOvr>
    <a:masterClrMapping/>
  </p:clrMapOvr>
  <p:transition spd="med"/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39476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62675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0313284"/>
      </p:ext>
    </p:extLst>
  </p:cSld>
  <p:clrMapOvr>
    <a:masterClrMapping/>
  </p:clrMapOvr>
  <p:transition spd="med"/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6" cy="4573587"/>
          </a:xfrm>
        </p:spPr>
        <p:txBody>
          <a:bodyPr rIns="0"/>
          <a:lstStyle>
            <a:lvl1pPr>
              <a:lnSpc>
                <a:spcPct val="10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6585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1095922"/>
      </p:ext>
    </p:extLst>
  </p:cSld>
  <p:clrMapOvr>
    <a:masterClrMapping/>
  </p:clrMapOvr>
  <p:transition spd="med"/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49825" cy="1141413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638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63638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9151" y="384048"/>
            <a:ext cx="4956175" cy="1141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2800"/>
            </a:lvl2pPr>
            <a:lvl3pPr>
              <a:lnSpc>
                <a:spcPct val="90000"/>
              </a:lnSpc>
              <a:spcBef>
                <a:spcPts val="0"/>
              </a:spcBef>
              <a:defRPr sz="2800"/>
            </a:lvl3pPr>
            <a:lvl4pPr>
              <a:lnSpc>
                <a:spcPct val="90000"/>
              </a:lnSpc>
              <a:spcBef>
                <a:spcPts val="0"/>
              </a:spcBef>
              <a:defRPr sz="2800"/>
            </a:lvl4pPr>
            <a:lvl5pPr>
              <a:lnSpc>
                <a:spcPct val="90000"/>
              </a:lnSpc>
              <a:spcBef>
                <a:spcPts val="0"/>
              </a:spcBef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2763500" y="576072"/>
            <a:ext cx="1216152" cy="121446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8859500" y="576072"/>
            <a:ext cx="1217844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12188952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421188"/>
      </p:ext>
    </p:extLst>
  </p:cSld>
  <p:clrMapOvr>
    <a:masterClrMapping/>
  </p:clrMapOvr>
  <p:transition spd="med"/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2478024"/>
            <a:ext cx="6670675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2476500"/>
            <a:ext cx="6667500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2" y="8385048"/>
            <a:ext cx="6670676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1" y="8382000"/>
            <a:ext cx="6667500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6072" y="576072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2763500" y="576072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76072" y="6473951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763500" y="6477000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12192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56832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214727"/>
      </p:ext>
    </p:extLst>
  </p:cSld>
  <p:clrMapOvr>
    <a:masterClrMapping/>
  </p:clrMapOvr>
  <p:transition spd="med"/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682496"/>
            <a:ext cx="5715000" cy="2276856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5024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6072" y="576072"/>
            <a:ext cx="4956175" cy="11414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278832"/>
      </p:ext>
    </p:extLst>
  </p:cSld>
  <p:clrMapOvr>
    <a:masterClrMapping/>
  </p:clrMapOvr>
  <p:transition spd="med"/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527048"/>
            <a:ext cx="11044239" cy="2276856"/>
          </a:xfrm>
        </p:spPr>
        <p:txBody>
          <a:bodyPr rIns="457200"/>
          <a:lstStyle>
            <a:lvl1pPr>
              <a:lnSpc>
                <a:spcPct val="11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69913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69913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6072" y="576072"/>
            <a:ext cx="4956175" cy="448056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8606337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6072" y="576072"/>
            <a:ext cx="4956175" cy="448056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527048"/>
            <a:ext cx="11044239" cy="2276856"/>
          </a:xfrm>
        </p:spPr>
        <p:txBody>
          <a:bodyPr rIns="457200"/>
          <a:lstStyle>
            <a:lvl1pPr>
              <a:lnSpc>
                <a:spcPct val="11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69913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69913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1810613"/>
      </p:ext>
    </p:extLst>
  </p:cSld>
  <p:clrMapOvr>
    <a:masterClrMapping/>
  </p:clrMapOvr>
  <p:transition spd="med"/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56175" cy="4573587"/>
          </a:xfrm>
        </p:spPr>
        <p:txBody>
          <a:bodyPr/>
          <a:lstStyle>
            <a:lvl1pPr>
              <a:lnSpc>
                <a:spcPct val="10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6656832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3241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76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464768"/>
      </p:ext>
    </p:extLst>
  </p:cSld>
  <p:clrMapOvr>
    <a:masterClrMapping/>
  </p:clrMapOvr>
  <p:transition spd="med"/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6656832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9591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76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6077339"/>
      </p:ext>
    </p:extLst>
  </p:cSld>
  <p:clrMapOvr>
    <a:masterClrMapping/>
  </p:clrMapOvr>
  <p:transition spd="med"/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4573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D44C30-196F-B4B1-540A-E556579735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65976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B1A268B-43F5-F600-93B7-6248877F5D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669151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720302"/>
      </p:ext>
    </p:extLst>
  </p:cSld>
  <p:clrMapOvr>
    <a:masterClrMapping/>
  </p:clrMapOvr>
  <p:transition spd="med"/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7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48C06-F3C6-0E95-A225-29F730DD15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333500"/>
            <a:ext cx="4951413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FD5E03-A007-B728-4616-E05622A43A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1" y="1333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C06719-7195-BBE7-0154-56A039A4B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59501" y="1333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04E464-B0E0-CDD0-B14B-FA6386285A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67500" y="7429500"/>
            <a:ext cx="4951413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96B64B8-6DA8-8704-DD30-37587B3E68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763501" y="7429500"/>
            <a:ext cx="4951413" cy="379268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965C82-A0A6-A670-C10A-6073DD354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8859501" y="7429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667500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763501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8859501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667500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2763501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8859501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1772285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226039"/>
      </p:ext>
    </p:extLst>
  </p:cSld>
  <p:clrMapOvr>
    <a:masterClrMapping/>
  </p:clrMapOvr>
  <p:transition spd="med"/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39475" cy="3413126"/>
          </a:xfrm>
        </p:spPr>
        <p:txBody>
          <a:bodyPr rIns="457200"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62675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862675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072" y="6665976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67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57467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0" cy="5905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9481098"/>
      </p:ext>
    </p:extLst>
  </p:cSld>
  <p:clrMapOvr>
    <a:masterClrMapping/>
  </p:clrMapOvr>
  <p:transition spd="med"/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3413126"/>
          </a:xfrm>
        </p:spPr>
        <p:txBody>
          <a:bodyPr rIns="0"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62675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862675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016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67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57467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0" cy="5905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314208"/>
      </p:ext>
    </p:extLst>
  </p:cSld>
  <p:clrMapOvr>
    <a:masterClrMapping/>
  </p:clrMapOvr>
  <p:transition spd="med"/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668432301"/>
      </p:ext>
    </p:extLst>
  </p:cSld>
  <p:clrMapOvr>
    <a:masterClrMapping/>
  </p:clrMapOvr>
  <p:transition spd="med"/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Nr.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18291175" cy="13716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339751142"/>
      </p:ext>
    </p:extLst>
  </p:cSld>
  <p:clrMapOvr>
    <a:masterClrMapping/>
  </p:clrMapOvr>
  <p:transition spd="med"/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Nr.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667500" y="565151"/>
            <a:ext cx="17151350" cy="12579349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584820374"/>
      </p:ext>
    </p:extLst>
  </p:cSld>
  <p:clrMapOvr>
    <a:masterClrMapping/>
  </p:clrMapOvr>
  <p:transition spd="med"/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Nr.›</a:t>
            </a:fld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24387174" cy="13715999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821540776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/>
          <a:lstStyle>
            <a:lvl1pPr>
              <a:lnSpc>
                <a:spcPct val="100000"/>
              </a:lnSpc>
              <a:defRPr sz="8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 descr="IBM 8-bar logo">
            <a:extLst>
              <a:ext uri="{FF2B5EF4-FFF2-40B4-BE49-F238E27FC236}">
                <a16:creationId xmlns:a16="http://schemas.microsoft.com/office/drawing/2014/main" id="{D1A09496-D938-6EB1-106C-48C5E423E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51E03B11-4513-F65C-033D-544E87B59A6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C9C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IBM Consulting / ©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0A2CB191-C694-01E8-6549-7436151A533A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23541592" y="12939014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4878651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56175" cy="4573587"/>
          </a:xfrm>
        </p:spPr>
        <p:txBody>
          <a:bodyPr/>
          <a:lstStyle>
            <a:lvl1pPr>
              <a:lnSpc>
                <a:spcPct val="10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6656832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3241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76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4362297"/>
      </p:ext>
    </p:extLst>
  </p:cSld>
  <p:clrMapOvr>
    <a:masterClrMapping/>
  </p:clrMapOvr>
  <p:transition spd="med"/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Nr.›</a:t>
            </a:fld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8325" y="569913"/>
            <a:ext cx="23244175" cy="12580936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1532326170"/>
      </p:ext>
    </p:extLst>
  </p:cSld>
  <p:clrMapOvr>
    <a:masterClrMapping/>
  </p:clrMapOvr>
  <p:transition spd="med"/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6072" y="61214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29000" y="61214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76072" y="9525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0" y="9525001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072" y="2667000"/>
            <a:ext cx="2473325" cy="2476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429000" y="26670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757150" y="61214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5617825" y="61214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2757150" y="9525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617825" y="9525001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2757150" y="2667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5617825" y="26670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9865950"/>
      </p:ext>
    </p:extLst>
  </p:cSld>
  <p:clrMapOvr>
    <a:masterClrMapping/>
  </p:clrMapOvr>
  <p:transition spd="med"/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4573587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6667500" y="569913"/>
            <a:ext cx="17145000" cy="114315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8869724"/>
      </p:ext>
    </p:extLst>
  </p:cSld>
  <p:clrMapOvr>
    <a:masterClrMapping/>
  </p:clrMapOvr>
  <p:transition spd="med"/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72" y="384048"/>
            <a:ext cx="4956175" cy="2859087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821337"/>
      </p:ext>
    </p:extLst>
  </p:cSld>
  <p:clrMapOvr>
    <a:masterClrMapping/>
  </p:clrMapOvr>
  <p:transition spd="med"/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704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534258"/>
      </p:ext>
    </p:extLst>
  </p:cSld>
  <p:clrMapOvr>
    <a:masterClrMapping/>
  </p:clrMapOvr>
  <p:transition spd="med"/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72" y="384048"/>
            <a:ext cx="4956175" cy="2859087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81024" y="1280477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465084"/>
      </p:ext>
    </p:extLst>
  </p:cSld>
  <p:clrMapOvr>
    <a:masterClrMapping/>
  </p:clrMapOvr>
  <p:transition spd="med"/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65371" y="6168460"/>
            <a:ext cx="3456432" cy="137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5465828"/>
      </p:ext>
    </p:extLst>
  </p:cSld>
  <p:clrMapOvr>
    <a:masterClrMapping/>
  </p:clrMapOvr>
  <p:transition spd="med"/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" descr="IBM 8-bar logo">
            <a:extLst>
              <a:ext uri="{FF2B5EF4-FFF2-40B4-BE49-F238E27FC236}">
                <a16:creationId xmlns:a16="http://schemas.microsoft.com/office/drawing/2014/main" id="{F215F50F-416A-7348-95FE-AC077A0A50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386415" y="12514875"/>
            <a:ext cx="1391085" cy="551442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CD3C9B-B03F-1741-A481-0A992A1038E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34510042-98E0-9C42-84B0-C4E9C3EF52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858" y="12767737"/>
            <a:ext cx="10974055" cy="4444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1829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41051881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8C7F47-3B64-E64E-B492-D1E6C20088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B38354-11E8-5345-B74F-4044C224A1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E34643-D614-C544-AF4E-FEB8E0DD3F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8A941-4B96-714F-AFFB-6B5E3255FD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CB94D-C957-2C4D-A81B-4A98252E3F7E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25C81904-FF1E-5B4A-85FD-C95D22FE2E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858" y="12767737"/>
            <a:ext cx="10974055" cy="4444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1829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943380990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10" y="536448"/>
            <a:ext cx="11047208" cy="11452352"/>
          </a:xfrm>
        </p:spPr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ol gray 10 rectangle">
            <a:extLst>
              <a:ext uri="{FF2B5EF4-FFF2-40B4-BE49-F238E27FC236}">
                <a16:creationId xmlns:a16="http://schemas.microsoft.com/office/drawing/2014/main" id="{838ABCAC-D266-7244-9068-DAD3FE4E7C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193587" y="0"/>
            <a:ext cx="12193588" cy="13716000"/>
          </a:xfrm>
          <a:prstGeom prst="rect">
            <a:avLst/>
          </a:prstGeom>
          <a:solidFill>
            <a:srgbClr val="F3F3F3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2778880" y="536448"/>
            <a:ext cx="10998616" cy="11452352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pPr marL="0" marR="0" lvl="0" indent="0" algn="r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95FB3-9C97-154F-86B2-7E381B951268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  <a:sym typeface="IBM Plex Sans"/>
              </a:rPr>
              <a:pPr marL="0" marR="0" lvl="0" indent="0" algn="r" defTabSz="182937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  <a:sym typeface="IBM Plex Sans"/>
            </a:endParaRP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8CF15E65-9EB0-D747-972F-17DACFF62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858" y="12767737"/>
            <a:ext cx="10974055" cy="4444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1829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pPr marL="0" marR="0" lvl="0" indent="0" algn="l" defTabSz="1829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0129819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6656832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9591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76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7828484"/>
      </p:ext>
    </p:extLst>
  </p:cSld>
  <p:clrMapOvr>
    <a:masterClrMapping/>
  </p:clrMapOvr>
  <p:transition spd="med"/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BM Design 16x9: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78997894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4573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D44C30-196F-B4B1-540A-E556579735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65976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B1A268B-43F5-F600-93B7-6248877F5D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669151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6056091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7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4" name="Straight Connector 23" descr="Vertical column divider">
            <a:extLst>
              <a:ext uri="{FF2B5EF4-FFF2-40B4-BE49-F238E27FC236}">
                <a16:creationId xmlns:a16="http://schemas.microsoft.com/office/drawing/2014/main" id="{B5CBE6E3-0E18-8A57-578D-D314948AF14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Picture Placeholder 15" descr="Place icon here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667500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48C06-F3C6-0E95-A225-29F730DD15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333500"/>
            <a:ext cx="4951413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8" name="Straight Connector 27" descr="Vertical column divider">
            <a:extLst>
              <a:ext uri="{FF2B5EF4-FFF2-40B4-BE49-F238E27FC236}">
                <a16:creationId xmlns:a16="http://schemas.microsoft.com/office/drawing/2014/main" id="{52FF3B59-8BBA-8C99-9D4D-743723E434F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Picture Placeholder 15" descr="Place icon here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763501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FD5E03-A007-B728-4616-E05622A43A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1" y="1333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7" name="Straight Connector 26" descr="Vertical column divider">
            <a:extLst>
              <a:ext uri="{FF2B5EF4-FFF2-40B4-BE49-F238E27FC236}">
                <a16:creationId xmlns:a16="http://schemas.microsoft.com/office/drawing/2014/main" id="{47200B05-7E36-4E03-3739-0BA9837646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Picture Placeholder 15" descr="Place icon here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8859501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C06719-7195-BBE7-0154-56A039A4B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59501" y="1333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3" name="Straight Connector 22" descr="Horizontal row divider">
            <a:extLst>
              <a:ext uri="{FF2B5EF4-FFF2-40B4-BE49-F238E27FC236}">
                <a16:creationId xmlns:a16="http://schemas.microsoft.com/office/drawing/2014/main" id="{252CDB94-BA57-B58F-95F0-D406FE34BB4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1772285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Picture Placeholder 15" descr="Place icon here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667500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04E464-B0E0-CDD0-B14B-FA6386285A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67500" y="7429500"/>
            <a:ext cx="4951413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Picture Placeholder 15" descr="Place icon here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2763501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96B64B8-6DA8-8704-DD30-37587B3E68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763501" y="7429500"/>
            <a:ext cx="4951413" cy="379268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15" descr="Place icon here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8859501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965C82-A0A6-A670-C10A-6073DD354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8859501" y="7429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4205542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39475" cy="3413126"/>
          </a:xfrm>
        </p:spPr>
        <p:txBody>
          <a:bodyPr rIns="457200"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0" name="Straight Connector 19" descr="Vertical column divider">
            <a:extLst>
              <a:ext uri="{FF2B5EF4-FFF2-40B4-BE49-F238E27FC236}">
                <a16:creationId xmlns:a16="http://schemas.microsoft.com/office/drawing/2014/main" id="{F764036E-86AB-0893-B72B-200B84A6BCF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9" name="Straight Connector 18" descr="Vertical column divider">
            <a:extLst>
              <a:ext uri="{FF2B5EF4-FFF2-40B4-BE49-F238E27FC236}">
                <a16:creationId xmlns:a16="http://schemas.microsoft.com/office/drawing/2014/main" id="{B87B78A1-A315-98D3-1692-18AAAF4C600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62675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6" name="Straight Connector 15" descr="Horizontal row divider">
            <a:extLst>
              <a:ext uri="{FF2B5EF4-FFF2-40B4-BE49-F238E27FC236}">
                <a16:creationId xmlns:a16="http://schemas.microsoft.com/office/drawing/2014/main" id="{4F455E69-0B51-1D31-E569-651079398D3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57467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072" y="6665976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8" name="Straight Connector 17" descr="Vertical column divider">
            <a:extLst>
              <a:ext uri="{FF2B5EF4-FFF2-40B4-BE49-F238E27FC236}">
                <a16:creationId xmlns:a16="http://schemas.microsoft.com/office/drawing/2014/main" id="{54C560F4-CB2D-6B04-588B-57BB4D4E6DC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0" cy="5905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67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862675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512172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3413126"/>
          </a:xfrm>
        </p:spPr>
        <p:txBody>
          <a:bodyPr rIns="0"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0" name="Straight Connector 19" descr="Vertical column divider">
            <a:extLst>
              <a:ext uri="{FF2B5EF4-FFF2-40B4-BE49-F238E27FC236}">
                <a16:creationId xmlns:a16="http://schemas.microsoft.com/office/drawing/2014/main" id="{F764036E-86AB-0893-B72B-200B84A6BCF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9" name="Straight Connector 18" descr="Vertical column divider">
            <a:extLst>
              <a:ext uri="{FF2B5EF4-FFF2-40B4-BE49-F238E27FC236}">
                <a16:creationId xmlns:a16="http://schemas.microsoft.com/office/drawing/2014/main" id="{B87B78A1-A315-98D3-1692-18AAAF4C600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62675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6" name="Straight Connector 15" descr="Horizontal row divider">
            <a:extLst>
              <a:ext uri="{FF2B5EF4-FFF2-40B4-BE49-F238E27FC236}">
                <a16:creationId xmlns:a16="http://schemas.microsoft.com/office/drawing/2014/main" id="{4F455E69-0B51-1D31-E569-651079398D3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57467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016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8" name="Straight Connector 17" descr="Vertical column divider">
            <a:extLst>
              <a:ext uri="{FF2B5EF4-FFF2-40B4-BE49-F238E27FC236}">
                <a16:creationId xmlns:a16="http://schemas.microsoft.com/office/drawing/2014/main" id="{54C560F4-CB2D-6B04-588B-57BB4D4E6DC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0" cy="5905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67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862675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212167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Picture Placeholder 10" descr="Place imagery here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224836230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 descr="Place imagery here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18291175" cy="13716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0154425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Picture Placeholder 6" descr="Place imagery here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667500" y="565151"/>
            <a:ext cx="17151350" cy="12579349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327768506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 descr="Place imagery here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24387174" cy="13715999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270910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45735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6072" y="12463272"/>
            <a:ext cx="11050588" cy="762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 descr="IBM 8-bar logo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E32766B4-F66E-F4CA-9939-BC9B295535C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C9C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IBM Consulting / ©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3C4079D5-10C4-454C-346B-E67BCCD3D03D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23541592" y="12939014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174950"/>
      </p:ext>
    </p:extLst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 descr="Place imagery here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8325" y="569913"/>
            <a:ext cx="23244175" cy="12580936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7694905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Picture Placeholder 7" descr="Place bio portrait here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072" y="2667000"/>
            <a:ext cx="2473325" cy="2476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429000" y="26670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Picture Placeholder 7" descr="Place bio portrait here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6072" y="61214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29000" y="61214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7" descr="Place bio portrait here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76072" y="9525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0" y="9525001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7" descr="Place bio portrait here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2757150" y="2667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5617825" y="26670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Picture Placeholder 7" descr="Place bio portrait here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757150" y="61214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5617825" y="61214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7" descr="Place bio portrait here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2757150" y="9525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617825" y="9525001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6719277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4573587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6667500" y="569913"/>
            <a:ext cx="17145000" cy="114315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229029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72" y="384048"/>
            <a:ext cx="4956175" cy="2859087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187956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704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05039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72" y="384048"/>
            <a:ext cx="4956175" cy="2859087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81024" y="12804775"/>
            <a:ext cx="4956176" cy="381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6161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IBM 8-bar logo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65371" y="6168460"/>
            <a:ext cx="3456432" cy="137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5384914"/>
      </p:ext>
    </p:extLst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11452352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2778880" y="536448"/>
            <a:ext cx="10998616" cy="1145235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41874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24387175" cy="340360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3403600"/>
            <a:ext cx="24387175" cy="103124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15036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2"/>
            <a:ext cx="12193588" cy="6858003"/>
          </a:xfrm>
          <a:solidFill>
            <a:srgbClr val="0530AD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12193587" y="0"/>
            <a:ext cx="6096794" cy="6858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18290381" y="0"/>
            <a:ext cx="6096794" cy="6858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6853769"/>
            <a:ext cx="12193588" cy="6862232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12193587" y="6853769"/>
            <a:ext cx="12193588" cy="6862232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1863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0101072" cy="10479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 descr="Place imagery here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657268-D84A-709A-B02E-404EE6902F5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C9C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IBM Consulting / © IBM Corporation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8A310070-09C4-DBFB-EBE4-3E7EA30D3B3A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23541592" y="12939014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614004"/>
      </p:ext>
    </p:extLst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24387175" cy="12001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6288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12088368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71501" y="12084739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422425"/>
      </p:ext>
    </p:extLst>
  </p:cSld>
  <p:clrMapOvr>
    <a:masterClrMapping/>
  </p:clrMapOvr>
  <p:transition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0"/>
            <a:ext cx="24387175" cy="12001500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12088368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71501" y="12084739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801340"/>
      </p:ext>
    </p:extLst>
  </p:cSld>
  <p:clrMapOvr>
    <a:masterClrMapping/>
  </p:clrMapOvr>
  <p:transition spd="med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/>
          <a:lstStyle>
            <a:lvl1pPr>
              <a:lnSpc>
                <a:spcPct val="100000"/>
              </a:lnSpc>
              <a:defRPr sz="8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A09496-D938-6EB1-106C-48C5E423E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904573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45735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6072" y="12463272"/>
            <a:ext cx="11050588" cy="762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578701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0101072" cy="10479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7850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2860954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527048"/>
            <a:ext cx="10099675" cy="9337675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576072"/>
            <a:ext cx="10099675" cy="571500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6">
            <a:extLst>
              <a:ext uri="{FF2B5EF4-FFF2-40B4-BE49-F238E27FC236}">
                <a16:creationId xmlns:a16="http://schemas.microsoft.com/office/drawing/2014/main" id="{96EE3C85-9A92-9247-093C-B55B24BBD5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9192" y="13009797"/>
            <a:ext cx="10972626" cy="444498"/>
          </a:xfrm>
        </p:spPr>
        <p:txBody>
          <a:bodyPr/>
          <a:lstStyle/>
          <a:p>
            <a:pPr marL="0" marR="0" lvl="0" indent="0" algn="l" defTabSz="1829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B9C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186064960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56175" cy="4573587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862675" y="569913"/>
            <a:ext cx="4949825" cy="11431587"/>
          </a:xfrm>
        </p:spPr>
        <p:txBody>
          <a:bodyPr/>
          <a:lstStyle>
            <a:lvl1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941008183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2859087"/>
          </a:xfrm>
        </p:spPr>
        <p:txBody>
          <a:bodyPr rIns="457200"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404822694"/>
      </p:ext>
    </p:extLst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420624"/>
            <a:ext cx="17141825" cy="8191500"/>
          </a:xfrm>
        </p:spPr>
        <p:txBody>
          <a:bodyPr/>
          <a:lstStyle>
            <a:lvl1pPr>
              <a:defRPr sz="17200" b="0" i="0">
                <a:solidFill>
                  <a:schemeClr val="tx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642325012"/>
      </p:ext>
    </p:extLst>
  </p:cSld>
  <p:clrMapOvr>
    <a:masterClrMapping/>
  </p:clrMapOvr>
  <p:transition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9909175" cy="2859087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67252" y="448056"/>
            <a:ext cx="11042073" cy="8574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 marL="585216" indent="-585216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2pPr>
            <a:lvl3pPr marL="1097280" indent="-585216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3pPr>
            <a:lvl4pPr marL="1755648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262265794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576072"/>
            <a:ext cx="10099675" cy="571500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527048"/>
            <a:ext cx="10099675" cy="9337675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 descr="Place imagery here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31F350-3F74-1C59-593E-9046A3A2002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C9C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IBM Consulting / ©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11BDCF2-3984-97DA-8B47-E0BD43F4B398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23541592" y="12939014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209367"/>
      </p:ext>
    </p:extLst>
  </p:cSld>
  <p:clrMapOvr>
    <a:masterClrMapping/>
  </p:clrMapOvr>
  <p:transition spd="med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420624"/>
            <a:ext cx="14662150" cy="9717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760293247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72" y="9299448"/>
            <a:ext cx="11050588" cy="35433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25800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763500" y="9296400"/>
            <a:ext cx="11049000" cy="35433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25800" b="0" i="0">
                <a:solidFill>
                  <a:schemeClr val="accent1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76072"/>
            <a:ext cx="7620000" cy="6288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576072"/>
            <a:ext cx="7623175" cy="6288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12193587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86507637"/>
      </p:ext>
    </p:extLst>
  </p:cSld>
  <p:clrMapOvr>
    <a:masterClrMapping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768263" y="426481"/>
            <a:ext cx="4949825" cy="1906588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859500" y="429654"/>
            <a:ext cx="4949825" cy="1903413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67500" y="429768"/>
            <a:ext cx="4951413" cy="1907912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2042775"/>
            <a:ext cx="4951413" cy="11430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2333068"/>
            <a:ext cx="4951413" cy="967304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2334654"/>
            <a:ext cx="4953000" cy="966684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2333067"/>
            <a:ext cx="4953000" cy="966684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013626026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56832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4675" y="402336"/>
            <a:ext cx="4949825" cy="5335588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402336"/>
            <a:ext cx="11049000" cy="53355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1pPr>
            <a:lvl2pPr marL="786384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2pPr>
            <a:lvl3pPr marL="1499616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3pPr>
            <a:lvl4pPr marL="2286000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4675" y="6477000"/>
            <a:ext cx="4949825" cy="5334000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7500" y="6477000"/>
            <a:ext cx="11049000" cy="533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1pPr>
            <a:lvl2pPr marL="786384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2pPr>
            <a:lvl3pPr marL="1499616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3pPr>
            <a:lvl4pPr marL="2286000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405949536"/>
      </p:ext>
    </p:extLst>
  </p:cSld>
  <p:clrMapOvr>
    <a:masterClrMapping/>
  </p:clrMapOvr>
  <p:transition spd="med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6667500" y="8191500"/>
            <a:ext cx="1714500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6667500" y="4000500"/>
            <a:ext cx="1714500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67500" y="411480"/>
            <a:ext cx="4951413" cy="2859087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2042775"/>
            <a:ext cx="4951413" cy="11430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7620000" cy="2859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4381500"/>
            <a:ext cx="7620000" cy="2857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8572500"/>
            <a:ext cx="7620000" cy="2857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67500" y="4187952"/>
            <a:ext cx="4951413" cy="2857506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67501" y="8403336"/>
            <a:ext cx="4951411" cy="2857506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019354485"/>
      </p:ext>
    </p:extLst>
  </p:cSld>
  <p:clrMapOvr>
    <a:masterClrMapping/>
  </p:clrMapOvr>
  <p:transition spd="med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591858849"/>
      </p:ext>
    </p:extLst>
  </p:cSld>
  <p:clrMapOvr>
    <a:masterClrMapping/>
  </p:clrMapOvr>
  <p:transition spd="med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7500" y="576072"/>
            <a:ext cx="4956175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9437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3429000"/>
            <a:ext cx="0" cy="8572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12188952" y="3429000"/>
            <a:ext cx="0" cy="85770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18288000" y="3429000"/>
            <a:ext cx="0" cy="85770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824887561"/>
      </p:ext>
    </p:extLst>
  </p:cSld>
  <p:clrMapOvr>
    <a:masterClrMapping/>
  </p:clrMapOvr>
  <p:transition spd="med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7500" y="576072"/>
            <a:ext cx="4956175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190102920"/>
      </p:ext>
    </p:extLst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097087"/>
          </a:xfrm>
        </p:spPr>
        <p:txBody>
          <a:bodyPr/>
          <a:lstStyle>
            <a:lvl1pPr>
              <a:lnSpc>
                <a:spcPct val="11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4956175" cy="40005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7CF39F-F0FC-7815-2582-A13E0599BC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8C92137-8AC3-46D8-C9A2-F6F058938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8031" y="3429000"/>
            <a:ext cx="494212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C380211-AA5F-2F8D-309F-DC766DF1E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1" y="3429000"/>
            <a:ext cx="4952999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667500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2776353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8859500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8668723"/>
      </p:ext>
    </p:extLst>
  </p:cSld>
  <p:clrMapOvr>
    <a:masterClrMapping/>
  </p:clrMapOvr>
  <p:transition spd="med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49825" cy="1141412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10096500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5976" y="384048"/>
            <a:ext cx="4956175" cy="1141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800"/>
            </a:lvl2pPr>
            <a:lvl3pPr>
              <a:spcBef>
                <a:spcPts val="0"/>
              </a:spcBef>
              <a:defRPr sz="2800"/>
            </a:lvl3pPr>
            <a:lvl4pPr>
              <a:spcBef>
                <a:spcPts val="0"/>
              </a:spcBef>
              <a:defRPr sz="2800"/>
            </a:lvl4pPr>
            <a:lvl5pPr>
              <a:spcBef>
                <a:spcPts val="0"/>
              </a:spcBef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669424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56175" cy="4573587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862675" y="569913"/>
            <a:ext cx="4949825" cy="11431587"/>
          </a:xfrm>
        </p:spPr>
        <p:txBody>
          <a:bodyPr/>
          <a:lstStyle>
            <a:lvl1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7324C4-803A-FAD4-E301-BBA491C66B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C9C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314303940"/>
      </p:ext>
    </p:extLst>
  </p:cSld>
  <p:clrMapOvr>
    <a:masterClrMapping/>
  </p:clrMapOvr>
  <p:transition spd="med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7424927" cy="19065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100996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3429000"/>
            <a:ext cx="100965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459905"/>
      </p:ext>
    </p:extLst>
  </p:cSld>
  <p:clrMapOvr>
    <a:masterClrMapping/>
  </p:clrMapOvr>
  <p:transition spd="med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45825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76072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859500" y="576072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003262"/>
      </p:ext>
    </p:extLst>
  </p:cSld>
  <p:clrMapOvr>
    <a:masterClrMapping/>
  </p:clrMapOvr>
  <p:transition spd="med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53000" cy="4573587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739156"/>
      </p:ext>
    </p:extLst>
  </p:cSld>
  <p:clrMapOvr>
    <a:masterClrMapping/>
  </p:clrMapOvr>
  <p:transition spd="med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39476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62675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123971"/>
      </p:ext>
    </p:extLst>
  </p:cSld>
  <p:clrMapOvr>
    <a:masterClrMapping/>
  </p:clrMapOvr>
  <p:transition spd="med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6" cy="4573587"/>
          </a:xfrm>
        </p:spPr>
        <p:txBody>
          <a:bodyPr rIns="0"/>
          <a:lstStyle>
            <a:lvl1pPr>
              <a:lnSpc>
                <a:spcPct val="10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6585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9166502"/>
      </p:ext>
    </p:extLst>
  </p:cSld>
  <p:clrMapOvr>
    <a:masterClrMapping/>
  </p:clrMapOvr>
  <p:transition spd="med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49825" cy="1141413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638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63638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9151" y="384048"/>
            <a:ext cx="4956175" cy="1141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2800"/>
            </a:lvl2pPr>
            <a:lvl3pPr>
              <a:lnSpc>
                <a:spcPct val="90000"/>
              </a:lnSpc>
              <a:spcBef>
                <a:spcPts val="0"/>
              </a:spcBef>
              <a:defRPr sz="2800"/>
            </a:lvl3pPr>
            <a:lvl4pPr>
              <a:lnSpc>
                <a:spcPct val="90000"/>
              </a:lnSpc>
              <a:spcBef>
                <a:spcPts val="0"/>
              </a:spcBef>
              <a:defRPr sz="2800"/>
            </a:lvl4pPr>
            <a:lvl5pPr>
              <a:lnSpc>
                <a:spcPct val="90000"/>
              </a:lnSpc>
              <a:spcBef>
                <a:spcPts val="0"/>
              </a:spcBef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2763500" y="576072"/>
            <a:ext cx="1216152" cy="121446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8859500" y="576072"/>
            <a:ext cx="1217844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12188952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597271"/>
      </p:ext>
    </p:extLst>
  </p:cSld>
  <p:clrMapOvr>
    <a:masterClrMapping/>
  </p:clrMapOvr>
  <p:transition spd="med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2478024"/>
            <a:ext cx="6670675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2476500"/>
            <a:ext cx="6667500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2" y="8385048"/>
            <a:ext cx="6670676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1" y="8382000"/>
            <a:ext cx="6667500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6072" y="576072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2763500" y="576072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76072" y="6473951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763500" y="6477000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12192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56832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7159699"/>
      </p:ext>
    </p:extLst>
  </p:cSld>
  <p:clrMapOvr>
    <a:masterClrMapping/>
  </p:clrMapOvr>
  <p:transition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682496"/>
            <a:ext cx="5715000" cy="2276856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5024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6072" y="576072"/>
            <a:ext cx="4956175" cy="11414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007781"/>
      </p:ext>
    </p:extLst>
  </p:cSld>
  <p:clrMapOvr>
    <a:masterClrMapping/>
  </p:clrMapOvr>
  <p:transition spd="med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527048"/>
            <a:ext cx="11044239" cy="2276856"/>
          </a:xfrm>
        </p:spPr>
        <p:txBody>
          <a:bodyPr rIns="457200"/>
          <a:lstStyle>
            <a:lvl1pPr>
              <a:lnSpc>
                <a:spcPct val="11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69913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69913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6072" y="576072"/>
            <a:ext cx="4956175" cy="448056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9315585"/>
      </p:ext>
    </p:extLst>
  </p:cSld>
  <p:clrMapOvr>
    <a:masterClrMapping/>
  </p:clrMapOvr>
  <p:transition spd="med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56175" cy="4573587"/>
          </a:xfrm>
        </p:spPr>
        <p:txBody>
          <a:bodyPr/>
          <a:lstStyle>
            <a:lvl1pPr>
              <a:lnSpc>
                <a:spcPct val="10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6656832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3241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76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962771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2859087"/>
          </a:xfrm>
        </p:spPr>
        <p:txBody>
          <a:bodyPr rIns="457200"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9095C4FB-C9E2-D0B3-9F61-08D8B7A1DD4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C9C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572839104"/>
      </p:ext>
    </p:extLst>
  </p:cSld>
  <p:clrMapOvr>
    <a:masterClrMapping/>
  </p:clrMapOvr>
  <p:transition spd="med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6656832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9591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76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38407"/>
      </p:ext>
    </p:extLst>
  </p:cSld>
  <p:clrMapOvr>
    <a:masterClrMapping/>
  </p:clrMapOvr>
  <p:transition spd="med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4573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D44C30-196F-B4B1-540A-E556579735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65976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B1A268B-43F5-F600-93B7-6248877F5D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669151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191666"/>
      </p:ext>
    </p:extLst>
  </p:cSld>
  <p:clrMapOvr>
    <a:masterClrMapping/>
  </p:clrMapOvr>
  <p:transition spd="med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7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48C06-F3C6-0E95-A225-29F730DD15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333500"/>
            <a:ext cx="4951413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FD5E03-A007-B728-4616-E05622A43A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1" y="1333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C06719-7195-BBE7-0154-56A039A4B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59501" y="1333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04E464-B0E0-CDD0-B14B-FA6386285A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67500" y="7429500"/>
            <a:ext cx="4951413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96B64B8-6DA8-8704-DD30-37587B3E68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763501" y="7429500"/>
            <a:ext cx="4951413" cy="379268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965C82-A0A6-A670-C10A-6073DD354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8859501" y="7429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667500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763501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8859501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667500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2763501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8859501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1772285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147747"/>
      </p:ext>
    </p:extLst>
  </p:cSld>
  <p:clrMapOvr>
    <a:masterClrMapping/>
  </p:clrMapOvr>
  <p:transition spd="med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39475" cy="3413126"/>
          </a:xfrm>
        </p:spPr>
        <p:txBody>
          <a:bodyPr rIns="457200"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62675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862675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072" y="6665976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67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57467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0" cy="5905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8264496"/>
      </p:ext>
    </p:extLst>
  </p:cSld>
  <p:clrMapOvr>
    <a:masterClrMapping/>
  </p:clrMapOvr>
  <p:transition spd="med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3413126"/>
          </a:xfrm>
        </p:spPr>
        <p:txBody>
          <a:bodyPr rIns="0"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62675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862675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016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67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57467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0" cy="5905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2419243"/>
      </p:ext>
    </p:extLst>
  </p:cSld>
  <p:clrMapOvr>
    <a:masterClrMapping/>
  </p:clrMapOvr>
  <p:transition spd="med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1438378818"/>
      </p:ext>
    </p:extLst>
  </p:cSld>
  <p:clrMapOvr>
    <a:masterClrMapping/>
  </p:clrMapOvr>
  <p:transition spd="med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Nr.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18291175" cy="13716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786341631"/>
      </p:ext>
    </p:extLst>
  </p:cSld>
  <p:clrMapOvr>
    <a:masterClrMapping/>
  </p:clrMapOvr>
  <p:transition spd="med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Nr.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667500" y="565151"/>
            <a:ext cx="17151350" cy="12579349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143129989"/>
      </p:ext>
    </p:extLst>
  </p:cSld>
  <p:clrMapOvr>
    <a:masterClrMapping/>
  </p:clrMapOvr>
  <p:transition spd="med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Nr.›</a:t>
            </a:fld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24387174" cy="13715999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522658044"/>
      </p:ext>
    </p:extLst>
  </p:cSld>
  <p:clrMapOvr>
    <a:masterClrMapping/>
  </p:clrMapOvr>
  <p:transition spd="med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Nr.›</a:t>
            </a:fld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8325" y="569913"/>
            <a:ext cx="23244175" cy="12580936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143032142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420624"/>
            <a:ext cx="17141825" cy="8191500"/>
          </a:xfrm>
        </p:spPr>
        <p:txBody>
          <a:bodyPr/>
          <a:lstStyle>
            <a:lvl1pPr>
              <a:defRPr sz="17200" b="0" i="0">
                <a:solidFill>
                  <a:schemeClr val="tx2"/>
                </a:solidFill>
                <a:latin typeface="IBM Plex Sans ExtLt" panose="020B03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BED7A4-52B3-5F89-7530-9DEEE5FAC9B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C9C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201808370"/>
      </p:ext>
    </p:extLst>
  </p:cSld>
  <p:clrMapOvr>
    <a:masterClrMapping/>
  </p:clrMapOvr>
  <p:transition spd="med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6072" y="61214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29000" y="61214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76072" y="9525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0" y="9525001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072" y="2667000"/>
            <a:ext cx="2473325" cy="2476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429000" y="26670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757150" y="61214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5617825" y="61214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2757150" y="9525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617825" y="9525001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2757150" y="2667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5617825" y="26670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527192"/>
      </p:ext>
    </p:extLst>
  </p:cSld>
  <p:clrMapOvr>
    <a:masterClrMapping/>
  </p:clrMapOvr>
  <p:transition spd="med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4573587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6667500" y="569913"/>
            <a:ext cx="17145000" cy="114315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198960"/>
      </p:ext>
    </p:extLst>
  </p:cSld>
  <p:clrMapOvr>
    <a:masterClrMapping/>
  </p:clrMapOvr>
  <p:transition spd="med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72" y="384048"/>
            <a:ext cx="4956175" cy="2859087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151439"/>
      </p:ext>
    </p:extLst>
  </p:cSld>
  <p:clrMapOvr>
    <a:masterClrMapping/>
  </p:clrMapOvr>
  <p:transition spd="med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704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64096"/>
      </p:ext>
    </p:extLst>
  </p:cSld>
  <p:clrMapOvr>
    <a:masterClrMapping/>
  </p:clrMapOvr>
  <p:transition spd="med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72" y="384048"/>
            <a:ext cx="4956175" cy="2859087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81024" y="12804775"/>
            <a:ext cx="4956176" cy="381000"/>
          </a:xfrm>
        </p:spPr>
        <p:txBody>
          <a:bodyPr/>
          <a:lstStyle/>
          <a:p>
            <a:r>
              <a:rPr lang="en-US"/>
              <a:t>IBM Consulting / © IBM Corporation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780291"/>
      </p:ext>
    </p:extLst>
  </p:cSld>
  <p:clrMapOvr>
    <a:masterClrMapping/>
  </p:clrMapOvr>
  <p:transition spd="med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65371" y="6168460"/>
            <a:ext cx="3456432" cy="137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379042"/>
      </p:ext>
    </p:extLst>
  </p:cSld>
  <p:clrMapOvr>
    <a:masterClrMapping/>
  </p:clrMapOvr>
  <p:transition spd="med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" descr="IBM 8-bar logo">
            <a:extLst>
              <a:ext uri="{FF2B5EF4-FFF2-40B4-BE49-F238E27FC236}">
                <a16:creationId xmlns:a16="http://schemas.microsoft.com/office/drawing/2014/main" id="{F215F50F-416A-7348-95FE-AC077A0A50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386415" y="12514875"/>
            <a:ext cx="1391085" cy="551442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CD3C9B-B03F-1741-A481-0A992A1038E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34510042-98E0-9C42-84B0-C4E9C3EF52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858" y="12767737"/>
            <a:ext cx="10974055" cy="4444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18292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46631305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D9C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C1EE52A-1CBC-AA4D-AADE-3D0D41AF15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tx1">
                <a:tint val="45000"/>
                <a:satMod val="400000"/>
              </a:schemeClr>
            </a:duotone>
          </a:blip>
          <a:srcRect/>
          <a:stretch/>
        </p:blipFill>
        <p:spPr>
          <a:xfrm>
            <a:off x="22386417" y="12547341"/>
            <a:ext cx="1391080" cy="55495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EB95C25-7188-D34D-89C2-F89965A7E8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tx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37119" y="12711941"/>
            <a:ext cx="3671947" cy="505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70217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3938" y="1220"/>
            <a:ext cx="24359299" cy="1371356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01AF147-45B2-6A48-A533-8933E26478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562287" y="10720512"/>
            <a:ext cx="1826702" cy="292051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ACE4B7F-4886-F941-B253-2E876B82860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37119" y="12711941"/>
            <a:ext cx="3671947" cy="505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8253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3938" y="1219"/>
            <a:ext cx="24359299" cy="1371355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F65C2C5-0367-9944-AE83-9277F7C309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562287" y="10720512"/>
            <a:ext cx="1826702" cy="292051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DB19735-6869-2941-9810-2B1469DF531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37119" y="12711941"/>
            <a:ext cx="3671947" cy="505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8051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9" Type="http://schemas.openxmlformats.org/officeDocument/2006/relationships/slideLayout" Target="../slideLayouts/slideLayout88.xml"/><Relationship Id="rId21" Type="http://schemas.openxmlformats.org/officeDocument/2006/relationships/slideLayout" Target="../slideLayouts/slideLayout70.xml"/><Relationship Id="rId34" Type="http://schemas.openxmlformats.org/officeDocument/2006/relationships/slideLayout" Target="../slideLayouts/slideLayout83.xml"/><Relationship Id="rId42" Type="http://schemas.openxmlformats.org/officeDocument/2006/relationships/slideLayout" Target="../slideLayouts/slideLayout91.xml"/><Relationship Id="rId47" Type="http://schemas.openxmlformats.org/officeDocument/2006/relationships/slideLayout" Target="../slideLayouts/slideLayout96.xml"/><Relationship Id="rId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9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slideLayout" Target="../slideLayouts/slideLayout81.xml"/><Relationship Id="rId37" Type="http://schemas.openxmlformats.org/officeDocument/2006/relationships/slideLayout" Target="../slideLayouts/slideLayout86.xml"/><Relationship Id="rId40" Type="http://schemas.openxmlformats.org/officeDocument/2006/relationships/slideLayout" Target="../slideLayouts/slideLayout89.xml"/><Relationship Id="rId45" Type="http://schemas.openxmlformats.org/officeDocument/2006/relationships/slideLayout" Target="../slideLayouts/slideLayout94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36" Type="http://schemas.openxmlformats.org/officeDocument/2006/relationships/slideLayout" Target="../slideLayouts/slideLayout85.xml"/><Relationship Id="rId49" Type="http://schemas.openxmlformats.org/officeDocument/2006/relationships/image" Target="../media/image1.jpeg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0.xml"/><Relationship Id="rId44" Type="http://schemas.openxmlformats.org/officeDocument/2006/relationships/slideLayout" Target="../slideLayouts/slideLayout93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Relationship Id="rId30" Type="http://schemas.openxmlformats.org/officeDocument/2006/relationships/slideLayout" Target="../slideLayouts/slideLayout79.xml"/><Relationship Id="rId35" Type="http://schemas.openxmlformats.org/officeDocument/2006/relationships/slideLayout" Target="../slideLayouts/slideLayout84.xml"/><Relationship Id="rId43" Type="http://schemas.openxmlformats.org/officeDocument/2006/relationships/slideLayout" Target="../slideLayouts/slideLayout92.xml"/><Relationship Id="rId48" Type="http://schemas.openxmlformats.org/officeDocument/2006/relationships/theme" Target="../theme/theme2.xml"/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33" Type="http://schemas.openxmlformats.org/officeDocument/2006/relationships/slideLayout" Target="../slideLayouts/slideLayout82.xml"/><Relationship Id="rId38" Type="http://schemas.openxmlformats.org/officeDocument/2006/relationships/slideLayout" Target="../slideLayouts/slideLayout87.xml"/><Relationship Id="rId46" Type="http://schemas.openxmlformats.org/officeDocument/2006/relationships/slideLayout" Target="../slideLayouts/slideLayout95.xml"/><Relationship Id="rId20" Type="http://schemas.openxmlformats.org/officeDocument/2006/relationships/slideLayout" Target="../slideLayouts/slideLayout69.xml"/><Relationship Id="rId41" Type="http://schemas.openxmlformats.org/officeDocument/2006/relationships/slideLayout" Target="../slideLayouts/slideLayout90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26" Type="http://schemas.openxmlformats.org/officeDocument/2006/relationships/slideLayout" Target="../slideLayouts/slideLayout122.xml"/><Relationship Id="rId39" Type="http://schemas.openxmlformats.org/officeDocument/2006/relationships/slideLayout" Target="../slideLayouts/slideLayout135.xml"/><Relationship Id="rId21" Type="http://schemas.openxmlformats.org/officeDocument/2006/relationships/slideLayout" Target="../slideLayouts/slideLayout117.xml"/><Relationship Id="rId34" Type="http://schemas.openxmlformats.org/officeDocument/2006/relationships/slideLayout" Target="../slideLayouts/slideLayout130.xml"/><Relationship Id="rId42" Type="http://schemas.openxmlformats.org/officeDocument/2006/relationships/slideLayout" Target="../slideLayouts/slideLayout138.xml"/><Relationship Id="rId47" Type="http://schemas.openxmlformats.org/officeDocument/2006/relationships/slideLayout" Target="../slideLayouts/slideLayout143.xml"/><Relationship Id="rId50" Type="http://schemas.openxmlformats.org/officeDocument/2006/relationships/slideLayout" Target="../slideLayouts/slideLayout146.xml"/><Relationship Id="rId55" Type="http://schemas.openxmlformats.org/officeDocument/2006/relationships/tags" Target="../tags/tag1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9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07.xml"/><Relationship Id="rId24" Type="http://schemas.openxmlformats.org/officeDocument/2006/relationships/slideLayout" Target="../slideLayouts/slideLayout120.xml"/><Relationship Id="rId32" Type="http://schemas.openxmlformats.org/officeDocument/2006/relationships/slideLayout" Target="../slideLayouts/slideLayout128.xml"/><Relationship Id="rId37" Type="http://schemas.openxmlformats.org/officeDocument/2006/relationships/slideLayout" Target="../slideLayouts/slideLayout133.xml"/><Relationship Id="rId40" Type="http://schemas.openxmlformats.org/officeDocument/2006/relationships/slideLayout" Target="../slideLayouts/slideLayout136.xml"/><Relationship Id="rId45" Type="http://schemas.openxmlformats.org/officeDocument/2006/relationships/slideLayout" Target="../slideLayouts/slideLayout141.xml"/><Relationship Id="rId53" Type="http://schemas.openxmlformats.org/officeDocument/2006/relationships/slideLayout" Target="../slideLayouts/slideLayout149.xml"/><Relationship Id="rId58" Type="http://schemas.openxmlformats.org/officeDocument/2006/relationships/image" Target="../media/image5.emf"/><Relationship Id="rId5" Type="http://schemas.openxmlformats.org/officeDocument/2006/relationships/slideLayout" Target="../slideLayouts/slideLayout101.xml"/><Relationship Id="rId19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Relationship Id="rId27" Type="http://schemas.openxmlformats.org/officeDocument/2006/relationships/slideLayout" Target="../slideLayouts/slideLayout123.xml"/><Relationship Id="rId30" Type="http://schemas.openxmlformats.org/officeDocument/2006/relationships/slideLayout" Target="../slideLayouts/slideLayout126.xml"/><Relationship Id="rId35" Type="http://schemas.openxmlformats.org/officeDocument/2006/relationships/slideLayout" Target="../slideLayouts/slideLayout131.xml"/><Relationship Id="rId43" Type="http://schemas.openxmlformats.org/officeDocument/2006/relationships/slideLayout" Target="../slideLayouts/slideLayout139.xml"/><Relationship Id="rId48" Type="http://schemas.openxmlformats.org/officeDocument/2006/relationships/slideLayout" Target="../slideLayouts/slideLayout144.xml"/><Relationship Id="rId56" Type="http://schemas.openxmlformats.org/officeDocument/2006/relationships/image" Target="../media/image1.jpeg"/><Relationship Id="rId8" Type="http://schemas.openxmlformats.org/officeDocument/2006/relationships/slideLayout" Target="../slideLayouts/slideLayout104.xml"/><Relationship Id="rId51" Type="http://schemas.openxmlformats.org/officeDocument/2006/relationships/slideLayout" Target="../slideLayouts/slideLayout147.xml"/><Relationship Id="rId3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5" Type="http://schemas.openxmlformats.org/officeDocument/2006/relationships/slideLayout" Target="../slideLayouts/slideLayout121.xml"/><Relationship Id="rId33" Type="http://schemas.openxmlformats.org/officeDocument/2006/relationships/slideLayout" Target="../slideLayouts/slideLayout129.xml"/><Relationship Id="rId38" Type="http://schemas.openxmlformats.org/officeDocument/2006/relationships/slideLayout" Target="../slideLayouts/slideLayout134.xml"/><Relationship Id="rId46" Type="http://schemas.openxmlformats.org/officeDocument/2006/relationships/slideLayout" Target="../slideLayouts/slideLayout142.xml"/><Relationship Id="rId20" Type="http://schemas.openxmlformats.org/officeDocument/2006/relationships/slideLayout" Target="../slideLayouts/slideLayout116.xml"/><Relationship Id="rId41" Type="http://schemas.openxmlformats.org/officeDocument/2006/relationships/slideLayout" Target="../slideLayouts/slideLayout137.xml"/><Relationship Id="rId54" Type="http://schemas.openxmlformats.org/officeDocument/2006/relationships/theme" Target="../theme/theme3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1.xml"/><Relationship Id="rId23" Type="http://schemas.openxmlformats.org/officeDocument/2006/relationships/slideLayout" Target="../slideLayouts/slideLayout119.xml"/><Relationship Id="rId28" Type="http://schemas.openxmlformats.org/officeDocument/2006/relationships/slideLayout" Target="../slideLayouts/slideLayout124.xml"/><Relationship Id="rId36" Type="http://schemas.openxmlformats.org/officeDocument/2006/relationships/slideLayout" Target="../slideLayouts/slideLayout132.xml"/><Relationship Id="rId49" Type="http://schemas.openxmlformats.org/officeDocument/2006/relationships/slideLayout" Target="../slideLayouts/slideLayout145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106.xml"/><Relationship Id="rId31" Type="http://schemas.openxmlformats.org/officeDocument/2006/relationships/slideLayout" Target="../slideLayouts/slideLayout127.xml"/><Relationship Id="rId44" Type="http://schemas.openxmlformats.org/officeDocument/2006/relationships/slideLayout" Target="../slideLayouts/slideLayout140.xml"/><Relationship Id="rId52" Type="http://schemas.openxmlformats.org/officeDocument/2006/relationships/slideLayout" Target="../slideLayouts/slideLayout14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slideLayout" Target="../slideLayouts/slideLayout162.xml"/><Relationship Id="rId18" Type="http://schemas.openxmlformats.org/officeDocument/2006/relationships/slideLayout" Target="../slideLayouts/slideLayout167.xml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slideLayout" Target="../slideLayouts/slideLayout161.xml"/><Relationship Id="rId17" Type="http://schemas.openxmlformats.org/officeDocument/2006/relationships/slideLayout" Target="../slideLayouts/slideLayout166.xml"/><Relationship Id="rId2" Type="http://schemas.openxmlformats.org/officeDocument/2006/relationships/slideLayout" Target="../slideLayouts/slideLayout151.xml"/><Relationship Id="rId16" Type="http://schemas.openxmlformats.org/officeDocument/2006/relationships/slideLayout" Target="../slideLayouts/slideLayout165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5" Type="http://schemas.openxmlformats.org/officeDocument/2006/relationships/slideLayout" Target="../slideLayouts/slideLayout164.xml"/><Relationship Id="rId10" Type="http://schemas.openxmlformats.org/officeDocument/2006/relationships/slideLayout" Target="../slideLayouts/slideLayout159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slideLayout" Target="../slideLayouts/slideLayout163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0.xml"/><Relationship Id="rId18" Type="http://schemas.openxmlformats.org/officeDocument/2006/relationships/slideLayout" Target="../slideLayouts/slideLayout185.xml"/><Relationship Id="rId26" Type="http://schemas.openxmlformats.org/officeDocument/2006/relationships/slideLayout" Target="../slideLayouts/slideLayout193.xml"/><Relationship Id="rId39" Type="http://schemas.openxmlformats.org/officeDocument/2006/relationships/slideLayout" Target="../slideLayouts/slideLayout206.xml"/><Relationship Id="rId21" Type="http://schemas.openxmlformats.org/officeDocument/2006/relationships/slideLayout" Target="../slideLayouts/slideLayout188.xml"/><Relationship Id="rId34" Type="http://schemas.openxmlformats.org/officeDocument/2006/relationships/slideLayout" Target="../slideLayouts/slideLayout201.xml"/><Relationship Id="rId42" Type="http://schemas.openxmlformats.org/officeDocument/2006/relationships/slideLayout" Target="../slideLayouts/slideLayout209.xml"/><Relationship Id="rId47" Type="http://schemas.openxmlformats.org/officeDocument/2006/relationships/theme" Target="../theme/theme5.xml"/><Relationship Id="rId7" Type="http://schemas.openxmlformats.org/officeDocument/2006/relationships/slideLayout" Target="../slideLayouts/slideLayout174.xml"/><Relationship Id="rId2" Type="http://schemas.openxmlformats.org/officeDocument/2006/relationships/slideLayout" Target="../slideLayouts/slideLayout169.xml"/><Relationship Id="rId16" Type="http://schemas.openxmlformats.org/officeDocument/2006/relationships/slideLayout" Target="../slideLayouts/slideLayout183.xml"/><Relationship Id="rId29" Type="http://schemas.openxmlformats.org/officeDocument/2006/relationships/slideLayout" Target="../slideLayouts/slideLayout196.xml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1" Type="http://schemas.openxmlformats.org/officeDocument/2006/relationships/slideLayout" Target="../slideLayouts/slideLayout178.xml"/><Relationship Id="rId24" Type="http://schemas.openxmlformats.org/officeDocument/2006/relationships/slideLayout" Target="../slideLayouts/slideLayout191.xml"/><Relationship Id="rId32" Type="http://schemas.openxmlformats.org/officeDocument/2006/relationships/slideLayout" Target="../slideLayouts/slideLayout199.xml"/><Relationship Id="rId37" Type="http://schemas.openxmlformats.org/officeDocument/2006/relationships/slideLayout" Target="../slideLayouts/slideLayout204.xml"/><Relationship Id="rId40" Type="http://schemas.openxmlformats.org/officeDocument/2006/relationships/slideLayout" Target="../slideLayouts/slideLayout207.xml"/><Relationship Id="rId45" Type="http://schemas.openxmlformats.org/officeDocument/2006/relationships/slideLayout" Target="../slideLayouts/slideLayout212.xml"/><Relationship Id="rId5" Type="http://schemas.openxmlformats.org/officeDocument/2006/relationships/slideLayout" Target="../slideLayouts/slideLayout172.xml"/><Relationship Id="rId15" Type="http://schemas.openxmlformats.org/officeDocument/2006/relationships/slideLayout" Target="../slideLayouts/slideLayout182.xml"/><Relationship Id="rId23" Type="http://schemas.openxmlformats.org/officeDocument/2006/relationships/slideLayout" Target="../slideLayouts/slideLayout190.xml"/><Relationship Id="rId28" Type="http://schemas.openxmlformats.org/officeDocument/2006/relationships/slideLayout" Target="../slideLayouts/slideLayout195.xml"/><Relationship Id="rId36" Type="http://schemas.openxmlformats.org/officeDocument/2006/relationships/slideLayout" Target="../slideLayouts/slideLayout203.xml"/><Relationship Id="rId10" Type="http://schemas.openxmlformats.org/officeDocument/2006/relationships/slideLayout" Target="../slideLayouts/slideLayout177.xml"/><Relationship Id="rId19" Type="http://schemas.openxmlformats.org/officeDocument/2006/relationships/slideLayout" Target="../slideLayouts/slideLayout186.xml"/><Relationship Id="rId31" Type="http://schemas.openxmlformats.org/officeDocument/2006/relationships/slideLayout" Target="../slideLayouts/slideLayout198.xml"/><Relationship Id="rId44" Type="http://schemas.openxmlformats.org/officeDocument/2006/relationships/slideLayout" Target="../slideLayouts/slideLayout211.xml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Relationship Id="rId14" Type="http://schemas.openxmlformats.org/officeDocument/2006/relationships/slideLayout" Target="../slideLayouts/slideLayout181.xml"/><Relationship Id="rId22" Type="http://schemas.openxmlformats.org/officeDocument/2006/relationships/slideLayout" Target="../slideLayouts/slideLayout189.xml"/><Relationship Id="rId27" Type="http://schemas.openxmlformats.org/officeDocument/2006/relationships/slideLayout" Target="../slideLayouts/slideLayout194.xml"/><Relationship Id="rId30" Type="http://schemas.openxmlformats.org/officeDocument/2006/relationships/slideLayout" Target="../slideLayouts/slideLayout197.xml"/><Relationship Id="rId35" Type="http://schemas.openxmlformats.org/officeDocument/2006/relationships/slideLayout" Target="../slideLayouts/slideLayout202.xml"/><Relationship Id="rId43" Type="http://schemas.openxmlformats.org/officeDocument/2006/relationships/slideLayout" Target="../slideLayouts/slideLayout210.xml"/><Relationship Id="rId48" Type="http://schemas.openxmlformats.org/officeDocument/2006/relationships/image" Target="../media/image1.jpeg"/><Relationship Id="rId8" Type="http://schemas.openxmlformats.org/officeDocument/2006/relationships/slideLayout" Target="../slideLayouts/slideLayout175.xml"/><Relationship Id="rId3" Type="http://schemas.openxmlformats.org/officeDocument/2006/relationships/slideLayout" Target="../slideLayouts/slideLayout170.xml"/><Relationship Id="rId12" Type="http://schemas.openxmlformats.org/officeDocument/2006/relationships/slideLayout" Target="../slideLayouts/slideLayout179.xml"/><Relationship Id="rId17" Type="http://schemas.openxmlformats.org/officeDocument/2006/relationships/slideLayout" Target="../slideLayouts/slideLayout184.xml"/><Relationship Id="rId25" Type="http://schemas.openxmlformats.org/officeDocument/2006/relationships/slideLayout" Target="../slideLayouts/slideLayout192.xml"/><Relationship Id="rId33" Type="http://schemas.openxmlformats.org/officeDocument/2006/relationships/slideLayout" Target="../slideLayouts/slideLayout200.xml"/><Relationship Id="rId38" Type="http://schemas.openxmlformats.org/officeDocument/2006/relationships/slideLayout" Target="../slideLayouts/slideLayout205.xml"/><Relationship Id="rId46" Type="http://schemas.openxmlformats.org/officeDocument/2006/relationships/slideLayout" Target="../slideLayouts/slideLayout213.xml"/><Relationship Id="rId20" Type="http://schemas.openxmlformats.org/officeDocument/2006/relationships/slideLayout" Target="../slideLayouts/slideLayout187.xml"/><Relationship Id="rId41" Type="http://schemas.openxmlformats.org/officeDocument/2006/relationships/slideLayout" Target="../slideLayouts/slideLayout208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6.xml"/><Relationship Id="rId18" Type="http://schemas.openxmlformats.org/officeDocument/2006/relationships/slideLayout" Target="../slideLayouts/slideLayout231.xml"/><Relationship Id="rId26" Type="http://schemas.openxmlformats.org/officeDocument/2006/relationships/slideLayout" Target="../slideLayouts/slideLayout239.xml"/><Relationship Id="rId39" Type="http://schemas.openxmlformats.org/officeDocument/2006/relationships/slideLayout" Target="../slideLayouts/slideLayout252.xml"/><Relationship Id="rId21" Type="http://schemas.openxmlformats.org/officeDocument/2006/relationships/slideLayout" Target="../slideLayouts/slideLayout234.xml"/><Relationship Id="rId34" Type="http://schemas.openxmlformats.org/officeDocument/2006/relationships/slideLayout" Target="../slideLayouts/slideLayout247.xml"/><Relationship Id="rId42" Type="http://schemas.openxmlformats.org/officeDocument/2006/relationships/slideLayout" Target="../slideLayouts/slideLayout255.xml"/><Relationship Id="rId47" Type="http://schemas.openxmlformats.org/officeDocument/2006/relationships/slideLayout" Target="../slideLayouts/slideLayout260.xml"/><Relationship Id="rId7" Type="http://schemas.openxmlformats.org/officeDocument/2006/relationships/slideLayout" Target="../slideLayouts/slideLayout220.xml"/><Relationship Id="rId2" Type="http://schemas.openxmlformats.org/officeDocument/2006/relationships/slideLayout" Target="../slideLayouts/slideLayout215.xml"/><Relationship Id="rId16" Type="http://schemas.openxmlformats.org/officeDocument/2006/relationships/slideLayout" Target="../slideLayouts/slideLayout229.xml"/><Relationship Id="rId29" Type="http://schemas.openxmlformats.org/officeDocument/2006/relationships/slideLayout" Target="../slideLayouts/slideLayout242.xml"/><Relationship Id="rId11" Type="http://schemas.openxmlformats.org/officeDocument/2006/relationships/slideLayout" Target="../slideLayouts/slideLayout224.xml"/><Relationship Id="rId24" Type="http://schemas.openxmlformats.org/officeDocument/2006/relationships/slideLayout" Target="../slideLayouts/slideLayout237.xml"/><Relationship Id="rId32" Type="http://schemas.openxmlformats.org/officeDocument/2006/relationships/slideLayout" Target="../slideLayouts/slideLayout245.xml"/><Relationship Id="rId37" Type="http://schemas.openxmlformats.org/officeDocument/2006/relationships/slideLayout" Target="../slideLayouts/slideLayout250.xml"/><Relationship Id="rId40" Type="http://schemas.openxmlformats.org/officeDocument/2006/relationships/slideLayout" Target="../slideLayouts/slideLayout253.xml"/><Relationship Id="rId45" Type="http://schemas.openxmlformats.org/officeDocument/2006/relationships/slideLayout" Target="../slideLayouts/slideLayout258.xml"/><Relationship Id="rId5" Type="http://schemas.openxmlformats.org/officeDocument/2006/relationships/slideLayout" Target="../slideLayouts/slideLayout218.xml"/><Relationship Id="rId15" Type="http://schemas.openxmlformats.org/officeDocument/2006/relationships/slideLayout" Target="../slideLayouts/slideLayout228.xml"/><Relationship Id="rId23" Type="http://schemas.openxmlformats.org/officeDocument/2006/relationships/slideLayout" Target="../slideLayouts/slideLayout236.xml"/><Relationship Id="rId28" Type="http://schemas.openxmlformats.org/officeDocument/2006/relationships/slideLayout" Target="../slideLayouts/slideLayout241.xml"/><Relationship Id="rId36" Type="http://schemas.openxmlformats.org/officeDocument/2006/relationships/slideLayout" Target="../slideLayouts/slideLayout249.xml"/><Relationship Id="rId49" Type="http://schemas.openxmlformats.org/officeDocument/2006/relationships/image" Target="../media/image1.jpeg"/><Relationship Id="rId10" Type="http://schemas.openxmlformats.org/officeDocument/2006/relationships/slideLayout" Target="../slideLayouts/slideLayout223.xml"/><Relationship Id="rId19" Type="http://schemas.openxmlformats.org/officeDocument/2006/relationships/slideLayout" Target="../slideLayouts/slideLayout232.xml"/><Relationship Id="rId31" Type="http://schemas.openxmlformats.org/officeDocument/2006/relationships/slideLayout" Target="../slideLayouts/slideLayout244.xml"/><Relationship Id="rId44" Type="http://schemas.openxmlformats.org/officeDocument/2006/relationships/slideLayout" Target="../slideLayouts/slideLayout257.xml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Relationship Id="rId14" Type="http://schemas.openxmlformats.org/officeDocument/2006/relationships/slideLayout" Target="../slideLayouts/slideLayout227.xml"/><Relationship Id="rId22" Type="http://schemas.openxmlformats.org/officeDocument/2006/relationships/slideLayout" Target="../slideLayouts/slideLayout235.xml"/><Relationship Id="rId27" Type="http://schemas.openxmlformats.org/officeDocument/2006/relationships/slideLayout" Target="../slideLayouts/slideLayout240.xml"/><Relationship Id="rId30" Type="http://schemas.openxmlformats.org/officeDocument/2006/relationships/slideLayout" Target="../slideLayouts/slideLayout243.xml"/><Relationship Id="rId35" Type="http://schemas.openxmlformats.org/officeDocument/2006/relationships/slideLayout" Target="../slideLayouts/slideLayout248.xml"/><Relationship Id="rId43" Type="http://schemas.openxmlformats.org/officeDocument/2006/relationships/slideLayout" Target="../slideLayouts/slideLayout256.xml"/><Relationship Id="rId48" Type="http://schemas.openxmlformats.org/officeDocument/2006/relationships/theme" Target="../theme/theme6.xml"/><Relationship Id="rId8" Type="http://schemas.openxmlformats.org/officeDocument/2006/relationships/slideLayout" Target="../slideLayouts/slideLayout221.xml"/><Relationship Id="rId3" Type="http://schemas.openxmlformats.org/officeDocument/2006/relationships/slideLayout" Target="../slideLayouts/slideLayout216.xml"/><Relationship Id="rId12" Type="http://schemas.openxmlformats.org/officeDocument/2006/relationships/slideLayout" Target="../slideLayouts/slideLayout225.xml"/><Relationship Id="rId17" Type="http://schemas.openxmlformats.org/officeDocument/2006/relationships/slideLayout" Target="../slideLayouts/slideLayout230.xml"/><Relationship Id="rId25" Type="http://schemas.openxmlformats.org/officeDocument/2006/relationships/slideLayout" Target="../slideLayouts/slideLayout238.xml"/><Relationship Id="rId33" Type="http://schemas.openxmlformats.org/officeDocument/2006/relationships/slideLayout" Target="../slideLayouts/slideLayout246.xml"/><Relationship Id="rId38" Type="http://schemas.openxmlformats.org/officeDocument/2006/relationships/slideLayout" Target="../slideLayouts/slideLayout251.xml"/><Relationship Id="rId46" Type="http://schemas.openxmlformats.org/officeDocument/2006/relationships/slideLayout" Target="../slideLayouts/slideLayout259.xml"/><Relationship Id="rId20" Type="http://schemas.openxmlformats.org/officeDocument/2006/relationships/slideLayout" Target="../slideLayouts/slideLayout233.xml"/><Relationship Id="rId41" Type="http://schemas.openxmlformats.org/officeDocument/2006/relationships/slideLayout" Target="../slideLayouts/slideLayout254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3.xml"/><Relationship Id="rId18" Type="http://schemas.openxmlformats.org/officeDocument/2006/relationships/slideLayout" Target="../slideLayouts/slideLayout278.xml"/><Relationship Id="rId26" Type="http://schemas.openxmlformats.org/officeDocument/2006/relationships/slideLayout" Target="../slideLayouts/slideLayout286.xml"/><Relationship Id="rId39" Type="http://schemas.openxmlformats.org/officeDocument/2006/relationships/slideLayout" Target="../slideLayouts/slideLayout299.xml"/><Relationship Id="rId21" Type="http://schemas.openxmlformats.org/officeDocument/2006/relationships/slideLayout" Target="../slideLayouts/slideLayout281.xml"/><Relationship Id="rId34" Type="http://schemas.openxmlformats.org/officeDocument/2006/relationships/slideLayout" Target="../slideLayouts/slideLayout294.xml"/><Relationship Id="rId42" Type="http://schemas.openxmlformats.org/officeDocument/2006/relationships/slideLayout" Target="../slideLayouts/slideLayout302.xml"/><Relationship Id="rId47" Type="http://schemas.openxmlformats.org/officeDocument/2006/relationships/slideLayout" Target="../slideLayouts/slideLayout307.xml"/><Relationship Id="rId50" Type="http://schemas.openxmlformats.org/officeDocument/2006/relationships/slideLayout" Target="../slideLayouts/slideLayout310.xml"/><Relationship Id="rId7" Type="http://schemas.openxmlformats.org/officeDocument/2006/relationships/slideLayout" Target="../slideLayouts/slideLayout267.xml"/><Relationship Id="rId2" Type="http://schemas.openxmlformats.org/officeDocument/2006/relationships/slideLayout" Target="../slideLayouts/slideLayout262.xml"/><Relationship Id="rId16" Type="http://schemas.openxmlformats.org/officeDocument/2006/relationships/slideLayout" Target="../slideLayouts/slideLayout276.xml"/><Relationship Id="rId29" Type="http://schemas.openxmlformats.org/officeDocument/2006/relationships/slideLayout" Target="../slideLayouts/slideLayout289.xml"/><Relationship Id="rId11" Type="http://schemas.openxmlformats.org/officeDocument/2006/relationships/slideLayout" Target="../slideLayouts/slideLayout271.xml"/><Relationship Id="rId24" Type="http://schemas.openxmlformats.org/officeDocument/2006/relationships/slideLayout" Target="../slideLayouts/slideLayout284.xml"/><Relationship Id="rId32" Type="http://schemas.openxmlformats.org/officeDocument/2006/relationships/slideLayout" Target="../slideLayouts/slideLayout292.xml"/><Relationship Id="rId37" Type="http://schemas.openxmlformats.org/officeDocument/2006/relationships/slideLayout" Target="../slideLayouts/slideLayout297.xml"/><Relationship Id="rId40" Type="http://schemas.openxmlformats.org/officeDocument/2006/relationships/slideLayout" Target="../slideLayouts/slideLayout300.xml"/><Relationship Id="rId45" Type="http://schemas.openxmlformats.org/officeDocument/2006/relationships/slideLayout" Target="../slideLayouts/slideLayout305.xml"/><Relationship Id="rId5" Type="http://schemas.openxmlformats.org/officeDocument/2006/relationships/slideLayout" Target="../slideLayouts/slideLayout265.xml"/><Relationship Id="rId15" Type="http://schemas.openxmlformats.org/officeDocument/2006/relationships/slideLayout" Target="../slideLayouts/slideLayout275.xml"/><Relationship Id="rId23" Type="http://schemas.openxmlformats.org/officeDocument/2006/relationships/slideLayout" Target="../slideLayouts/slideLayout283.xml"/><Relationship Id="rId28" Type="http://schemas.openxmlformats.org/officeDocument/2006/relationships/slideLayout" Target="../slideLayouts/slideLayout288.xml"/><Relationship Id="rId36" Type="http://schemas.openxmlformats.org/officeDocument/2006/relationships/slideLayout" Target="../slideLayouts/slideLayout296.xml"/><Relationship Id="rId49" Type="http://schemas.openxmlformats.org/officeDocument/2006/relationships/slideLayout" Target="../slideLayouts/slideLayout309.xml"/><Relationship Id="rId10" Type="http://schemas.openxmlformats.org/officeDocument/2006/relationships/slideLayout" Target="../slideLayouts/slideLayout270.xml"/><Relationship Id="rId19" Type="http://schemas.openxmlformats.org/officeDocument/2006/relationships/slideLayout" Target="../slideLayouts/slideLayout279.xml"/><Relationship Id="rId31" Type="http://schemas.openxmlformats.org/officeDocument/2006/relationships/slideLayout" Target="../slideLayouts/slideLayout291.xml"/><Relationship Id="rId44" Type="http://schemas.openxmlformats.org/officeDocument/2006/relationships/slideLayout" Target="../slideLayouts/slideLayout304.xml"/><Relationship Id="rId52" Type="http://schemas.openxmlformats.org/officeDocument/2006/relationships/image" Target="../media/image1.jpeg"/><Relationship Id="rId4" Type="http://schemas.openxmlformats.org/officeDocument/2006/relationships/slideLayout" Target="../slideLayouts/slideLayout264.xml"/><Relationship Id="rId9" Type="http://schemas.openxmlformats.org/officeDocument/2006/relationships/slideLayout" Target="../slideLayouts/slideLayout269.xml"/><Relationship Id="rId14" Type="http://schemas.openxmlformats.org/officeDocument/2006/relationships/slideLayout" Target="../slideLayouts/slideLayout274.xml"/><Relationship Id="rId22" Type="http://schemas.openxmlformats.org/officeDocument/2006/relationships/slideLayout" Target="../slideLayouts/slideLayout282.xml"/><Relationship Id="rId27" Type="http://schemas.openxmlformats.org/officeDocument/2006/relationships/slideLayout" Target="../slideLayouts/slideLayout287.xml"/><Relationship Id="rId30" Type="http://schemas.openxmlformats.org/officeDocument/2006/relationships/slideLayout" Target="../slideLayouts/slideLayout290.xml"/><Relationship Id="rId35" Type="http://schemas.openxmlformats.org/officeDocument/2006/relationships/slideLayout" Target="../slideLayouts/slideLayout295.xml"/><Relationship Id="rId43" Type="http://schemas.openxmlformats.org/officeDocument/2006/relationships/slideLayout" Target="../slideLayouts/slideLayout303.xml"/><Relationship Id="rId48" Type="http://schemas.openxmlformats.org/officeDocument/2006/relationships/slideLayout" Target="../slideLayouts/slideLayout308.xml"/><Relationship Id="rId8" Type="http://schemas.openxmlformats.org/officeDocument/2006/relationships/slideLayout" Target="../slideLayouts/slideLayout268.xml"/><Relationship Id="rId51" Type="http://schemas.openxmlformats.org/officeDocument/2006/relationships/theme" Target="../theme/theme7.xml"/><Relationship Id="rId3" Type="http://schemas.openxmlformats.org/officeDocument/2006/relationships/slideLayout" Target="../slideLayouts/slideLayout263.xml"/><Relationship Id="rId12" Type="http://schemas.openxmlformats.org/officeDocument/2006/relationships/slideLayout" Target="../slideLayouts/slideLayout272.xml"/><Relationship Id="rId17" Type="http://schemas.openxmlformats.org/officeDocument/2006/relationships/slideLayout" Target="../slideLayouts/slideLayout277.xml"/><Relationship Id="rId25" Type="http://schemas.openxmlformats.org/officeDocument/2006/relationships/slideLayout" Target="../slideLayouts/slideLayout285.xml"/><Relationship Id="rId33" Type="http://schemas.openxmlformats.org/officeDocument/2006/relationships/slideLayout" Target="../slideLayouts/slideLayout293.xml"/><Relationship Id="rId38" Type="http://schemas.openxmlformats.org/officeDocument/2006/relationships/slideLayout" Target="../slideLayouts/slideLayout298.xml"/><Relationship Id="rId46" Type="http://schemas.openxmlformats.org/officeDocument/2006/relationships/slideLayout" Target="../slideLayouts/slideLayout306.xml"/><Relationship Id="rId20" Type="http://schemas.openxmlformats.org/officeDocument/2006/relationships/slideLayout" Target="../slideLayouts/slideLayout280.xml"/><Relationship Id="rId41" Type="http://schemas.openxmlformats.org/officeDocument/2006/relationships/slideLayout" Target="../slideLayouts/slideLayout301.xml"/><Relationship Id="rId1" Type="http://schemas.openxmlformats.org/officeDocument/2006/relationships/slideLayout" Target="../slideLayouts/slideLayout261.xml"/><Relationship Id="rId6" Type="http://schemas.openxmlformats.org/officeDocument/2006/relationships/slideLayout" Target="../slideLayouts/slideLayout2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1">
            <a:alphaModFix amt="71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3541592" y="12939014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576072" y="576072"/>
            <a:ext cx="22590125" cy="26511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574675" y="3327399"/>
            <a:ext cx="22590125" cy="86693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8BDB95E-7A88-25B3-2F7E-96F69BB138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C9C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6690312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04" r:id="rId3"/>
    <p:sldLayoutId id="2147483905" r:id="rId4"/>
    <p:sldLayoutId id="2147483901" r:id="rId5"/>
    <p:sldLayoutId id="2147483692" r:id="rId6"/>
    <p:sldLayoutId id="2147483906" r:id="rId7"/>
    <p:sldLayoutId id="2147483907" r:id="rId8"/>
    <p:sldLayoutId id="2147483910" r:id="rId9"/>
    <p:sldLayoutId id="2147483908" r:id="rId10"/>
    <p:sldLayoutId id="2147483909" r:id="rId11"/>
    <p:sldLayoutId id="2147483912" r:id="rId12"/>
    <p:sldLayoutId id="2147483914" r:id="rId13"/>
    <p:sldLayoutId id="2147483915" r:id="rId14"/>
    <p:sldLayoutId id="2147483913" r:id="rId15"/>
    <p:sldLayoutId id="2147483917" r:id="rId16"/>
    <p:sldLayoutId id="2147483942" r:id="rId17"/>
    <p:sldLayoutId id="2147483919" r:id="rId18"/>
    <p:sldLayoutId id="2147483929" r:id="rId19"/>
    <p:sldLayoutId id="2147483920" r:id="rId20"/>
    <p:sldLayoutId id="2147483930" r:id="rId21"/>
    <p:sldLayoutId id="2147483928" r:id="rId22"/>
    <p:sldLayoutId id="2147483948" r:id="rId23"/>
    <p:sldLayoutId id="2147483927" r:id="rId24"/>
    <p:sldLayoutId id="2147483950" r:id="rId25"/>
    <p:sldLayoutId id="2147483921" r:id="rId26"/>
    <p:sldLayoutId id="2147483916" r:id="rId27"/>
    <p:sldLayoutId id="2147483922" r:id="rId28"/>
    <p:sldLayoutId id="2147483953" r:id="rId29"/>
    <p:sldLayoutId id="2147483956" r:id="rId30"/>
    <p:sldLayoutId id="2147483923" r:id="rId31"/>
    <p:sldLayoutId id="2147483924" r:id="rId32"/>
    <p:sldLayoutId id="2147483926" r:id="rId33"/>
    <p:sldLayoutId id="2147483925" r:id="rId34"/>
    <p:sldLayoutId id="2147483959" r:id="rId35"/>
    <p:sldLayoutId id="2147483937" r:id="rId36"/>
    <p:sldLayoutId id="2147483932" r:id="rId37"/>
    <p:sldLayoutId id="2147483934" r:id="rId38"/>
    <p:sldLayoutId id="2147483935" r:id="rId39"/>
    <p:sldLayoutId id="2147483936" r:id="rId40"/>
    <p:sldLayoutId id="2147483938" r:id="rId41"/>
    <p:sldLayoutId id="2147483939" r:id="rId42"/>
    <p:sldLayoutId id="2147483940" r:id="rId43"/>
    <p:sldLayoutId id="2147483943" r:id="rId44"/>
    <p:sldLayoutId id="2147483960" r:id="rId45"/>
    <p:sldLayoutId id="2147483941" r:id="rId46"/>
    <p:sldLayoutId id="2147484248" r:id="rId47"/>
    <p:sldLayoutId id="2147484249" r:id="rId48"/>
    <p:sldLayoutId id="2147484250" r:id="rId49"/>
  </p:sldLayoutIdLst>
  <p:transition spd="med"/>
  <p:hf hdr="0" dt="0"/>
  <p:txStyles>
    <p:titleStyle>
      <a:lvl1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362568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725139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1087706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1450276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329184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658368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987552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1143000" marR="0" indent="-457200" algn="l" defTabSz="2438400" rtl="0" eaLnBrk="1" latinLnBrk="0" hangingPunct="1">
        <a:lnSpc>
          <a:spcPct val="110000"/>
        </a:lnSpc>
        <a:spcBef>
          <a:spcPts val="29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1843060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2205631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2568200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2930769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342991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685982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1028974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1371965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1714956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2057948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2400940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2743931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80" userDrawn="1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9">
            <a:alphaModFix amt="71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3541592" y="12939014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576072" y="576072"/>
            <a:ext cx="22590125" cy="26511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574675" y="3327399"/>
            <a:ext cx="22590125" cy="86693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53903854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64" r:id="rId1"/>
    <p:sldLayoutId id="2147483965" r:id="rId2"/>
    <p:sldLayoutId id="2147483966" r:id="rId3"/>
    <p:sldLayoutId id="2147483967" r:id="rId4"/>
    <p:sldLayoutId id="2147483968" r:id="rId5"/>
    <p:sldLayoutId id="2147483969" r:id="rId6"/>
    <p:sldLayoutId id="2147483970" r:id="rId7"/>
    <p:sldLayoutId id="2147483971" r:id="rId8"/>
    <p:sldLayoutId id="2147483972" r:id="rId9"/>
    <p:sldLayoutId id="2147483973" r:id="rId10"/>
    <p:sldLayoutId id="2147483974" r:id="rId11"/>
    <p:sldLayoutId id="2147483975" r:id="rId12"/>
    <p:sldLayoutId id="2147483976" r:id="rId13"/>
    <p:sldLayoutId id="2147483977" r:id="rId14"/>
    <p:sldLayoutId id="2147483978" r:id="rId15"/>
    <p:sldLayoutId id="2147483979" r:id="rId16"/>
    <p:sldLayoutId id="2147483980" r:id="rId17"/>
    <p:sldLayoutId id="2147483981" r:id="rId18"/>
    <p:sldLayoutId id="2147483982" r:id="rId19"/>
    <p:sldLayoutId id="2147483983" r:id="rId20"/>
    <p:sldLayoutId id="2147483984" r:id="rId21"/>
    <p:sldLayoutId id="2147483985" r:id="rId22"/>
    <p:sldLayoutId id="2147483986" r:id="rId23"/>
    <p:sldLayoutId id="2147483987" r:id="rId24"/>
    <p:sldLayoutId id="2147483988" r:id="rId25"/>
    <p:sldLayoutId id="2147483989" r:id="rId26"/>
    <p:sldLayoutId id="2147483990" r:id="rId27"/>
    <p:sldLayoutId id="2147483991" r:id="rId28"/>
    <p:sldLayoutId id="2147483992" r:id="rId29"/>
    <p:sldLayoutId id="2147483993" r:id="rId30"/>
    <p:sldLayoutId id="2147483994" r:id="rId31"/>
    <p:sldLayoutId id="2147483995" r:id="rId32"/>
    <p:sldLayoutId id="2147483996" r:id="rId33"/>
    <p:sldLayoutId id="2147483997" r:id="rId34"/>
    <p:sldLayoutId id="2147483998" r:id="rId35"/>
    <p:sldLayoutId id="2147483999" r:id="rId36"/>
    <p:sldLayoutId id="2147484000" r:id="rId37"/>
    <p:sldLayoutId id="2147484001" r:id="rId38"/>
    <p:sldLayoutId id="2147484002" r:id="rId39"/>
    <p:sldLayoutId id="2147484003" r:id="rId40"/>
    <p:sldLayoutId id="2147484004" r:id="rId41"/>
    <p:sldLayoutId id="2147484005" r:id="rId42"/>
    <p:sldLayoutId id="2147484006" r:id="rId43"/>
    <p:sldLayoutId id="2147484007" r:id="rId44"/>
    <p:sldLayoutId id="2147484008" r:id="rId45"/>
    <p:sldLayoutId id="2147484009" r:id="rId46"/>
    <p:sldLayoutId id="2147484011" r:id="rId47"/>
  </p:sldLayoutIdLst>
  <p:transition spd="med"/>
  <p:hf hdr="0" dt="0"/>
  <p:txStyles>
    <p:titleStyle>
      <a:lvl1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362568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725139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1087706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1450276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329184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658368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987552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1143000" marR="0" indent="-457200" algn="l" defTabSz="2438400" rtl="0" eaLnBrk="1" latinLnBrk="0" hangingPunct="1">
        <a:lnSpc>
          <a:spcPct val="110000"/>
        </a:lnSpc>
        <a:spcBef>
          <a:spcPts val="29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1843060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2205631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2568200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2930769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342991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685982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1028974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1371965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1714956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2057948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2400940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2743931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80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6">
            <a:alphaModFix amt="71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6480EF1-1483-749A-22E3-48958C69EF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2140556124"/>
              </p:ext>
            </p:extLst>
          </p:nvPr>
        </p:nvGraphicFramePr>
        <p:xfrm>
          <a:off x="4237" y="4235"/>
          <a:ext cx="3272" cy="42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7" imgW="7772400" imgH="10058400" progId="TCLayout.ActiveDocument.1">
                  <p:embed/>
                </p:oleObj>
              </mc:Choice>
              <mc:Fallback>
                <p:oleObj name="think-cell Slide" r:id="rId57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6480EF1-1483-749A-22E3-48958C69EF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4237" y="4235"/>
                        <a:ext cx="3272" cy="423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1145235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12778880" y="536448"/>
            <a:ext cx="10998616" cy="114523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609857" y="12801601"/>
            <a:ext cx="10974055" cy="4444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18293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900063" y="12801601"/>
            <a:ext cx="4877254" cy="4444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Nr.›</a:t>
            </a:fld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292652" y="-294640"/>
            <a:ext cx="24974505" cy="1430528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5820704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15" r:id="rId1"/>
    <p:sldLayoutId id="2147484016" r:id="rId2"/>
    <p:sldLayoutId id="2147484017" r:id="rId3"/>
    <p:sldLayoutId id="2147484018" r:id="rId4"/>
    <p:sldLayoutId id="2147484019" r:id="rId5"/>
    <p:sldLayoutId id="2147484020" r:id="rId6"/>
    <p:sldLayoutId id="2147484021" r:id="rId7"/>
    <p:sldLayoutId id="2147484022" r:id="rId8"/>
    <p:sldLayoutId id="2147484023" r:id="rId9"/>
    <p:sldLayoutId id="2147484024" r:id="rId10"/>
    <p:sldLayoutId id="2147484025" r:id="rId11"/>
    <p:sldLayoutId id="2147484026" r:id="rId12"/>
    <p:sldLayoutId id="2147484027" r:id="rId13"/>
    <p:sldLayoutId id="2147484028" r:id="rId14"/>
    <p:sldLayoutId id="2147484029" r:id="rId15"/>
    <p:sldLayoutId id="2147484030" r:id="rId16"/>
    <p:sldLayoutId id="2147484031" r:id="rId17"/>
    <p:sldLayoutId id="2147484032" r:id="rId18"/>
    <p:sldLayoutId id="2147484033" r:id="rId19"/>
    <p:sldLayoutId id="2147484034" r:id="rId20"/>
    <p:sldLayoutId id="2147484035" r:id="rId21"/>
    <p:sldLayoutId id="2147484036" r:id="rId22"/>
    <p:sldLayoutId id="2147484037" r:id="rId23"/>
    <p:sldLayoutId id="2147484038" r:id="rId24"/>
    <p:sldLayoutId id="2147484039" r:id="rId25"/>
    <p:sldLayoutId id="2147484040" r:id="rId26"/>
    <p:sldLayoutId id="2147484041" r:id="rId27"/>
    <p:sldLayoutId id="2147484042" r:id="rId28"/>
    <p:sldLayoutId id="2147484043" r:id="rId29"/>
    <p:sldLayoutId id="2147484044" r:id="rId30"/>
    <p:sldLayoutId id="2147484045" r:id="rId31"/>
    <p:sldLayoutId id="2147484046" r:id="rId32"/>
    <p:sldLayoutId id="2147484047" r:id="rId33"/>
    <p:sldLayoutId id="2147484048" r:id="rId34"/>
    <p:sldLayoutId id="2147484049" r:id="rId35"/>
    <p:sldLayoutId id="2147484050" r:id="rId36"/>
    <p:sldLayoutId id="2147484051" r:id="rId37"/>
    <p:sldLayoutId id="2147484052" r:id="rId38"/>
    <p:sldLayoutId id="2147484053" r:id="rId39"/>
    <p:sldLayoutId id="2147484054" r:id="rId40"/>
    <p:sldLayoutId id="2147484055" r:id="rId41"/>
    <p:sldLayoutId id="2147484056" r:id="rId42"/>
    <p:sldLayoutId id="2147484057" r:id="rId43"/>
    <p:sldLayoutId id="2147484058" r:id="rId44"/>
    <p:sldLayoutId id="2147484059" r:id="rId45"/>
    <p:sldLayoutId id="2147484060" r:id="rId46"/>
    <p:sldLayoutId id="2147484061" r:id="rId47"/>
    <p:sldLayoutId id="2147484062" r:id="rId48"/>
    <p:sldLayoutId id="2147484063" r:id="rId49"/>
    <p:sldLayoutId id="2147484064" r:id="rId50"/>
    <p:sldLayoutId id="2147484065" r:id="rId51"/>
    <p:sldLayoutId id="2147484066" r:id="rId52"/>
    <p:sldLayoutId id="2147484069" r:id="rId53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6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IBM Plex Sans Light" pitchFamily="34" charset="0"/>
        </a:defRPr>
      </a:lvl5pPr>
      <a:lvl6pPr marL="96686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IBM Plex Sans Light" pitchFamily="34" charset="0"/>
        </a:defRPr>
      </a:lvl6pPr>
      <a:lvl7pPr marL="193372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IBM Plex Sans Light" pitchFamily="34" charset="0"/>
        </a:defRPr>
      </a:lvl7pPr>
      <a:lvl8pPr marL="290058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IBM Plex Sans Light" pitchFamily="34" charset="0"/>
        </a:defRPr>
      </a:lvl8pPr>
      <a:lvl9pPr marL="386745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2933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3733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457211" indent="-463302" algn="l" rtl="0" eaLnBrk="1" fontAlgn="base" hangingPunct="1">
        <a:lnSpc>
          <a:spcPct val="100000"/>
        </a:lnSpc>
        <a:spcBef>
          <a:spcPts val="2933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3733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914425" indent="-463302" algn="l" rtl="0" eaLnBrk="1" fontAlgn="base" hangingPunct="1">
        <a:lnSpc>
          <a:spcPct val="100000"/>
        </a:lnSpc>
        <a:spcBef>
          <a:spcPts val="2933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3733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1676442" indent="-463302" algn="l" rtl="0" eaLnBrk="1" fontAlgn="base" hangingPunct="1">
        <a:lnSpc>
          <a:spcPct val="100000"/>
        </a:lnSpc>
        <a:spcBef>
          <a:spcPts val="2933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3733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2142120" indent="-463302" algn="l" rtl="0" eaLnBrk="1" fontAlgn="base" hangingPunct="1">
        <a:lnSpc>
          <a:spcPct val="100000"/>
        </a:lnSpc>
        <a:spcBef>
          <a:spcPts val="2933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3733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4223309" indent="-34579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3384">
          <a:solidFill>
            <a:schemeClr val="bg1"/>
          </a:solidFill>
          <a:latin typeface="IBM Plex Sans Light" charset="0"/>
        </a:defRPr>
      </a:lvl6pPr>
      <a:lvl7pPr marL="5190174" indent="-34579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3384">
          <a:solidFill>
            <a:schemeClr val="bg1"/>
          </a:solidFill>
          <a:latin typeface="IBM Plex Sans Light" charset="0"/>
        </a:defRPr>
      </a:lvl7pPr>
      <a:lvl8pPr marL="6157037" indent="-34579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3384">
          <a:solidFill>
            <a:schemeClr val="bg1"/>
          </a:solidFill>
          <a:latin typeface="IBM Plex Sans Light" charset="0"/>
        </a:defRPr>
      </a:lvl8pPr>
      <a:lvl9pPr marL="7123902" indent="-34579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3384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1933728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1pPr>
      <a:lvl2pPr marL="966860" algn="l" defTabSz="1933728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2pPr>
      <a:lvl3pPr marL="1933728" algn="l" defTabSz="1933728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3pPr>
      <a:lvl4pPr marL="2900588" algn="l" defTabSz="1933728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4pPr>
      <a:lvl5pPr marL="3867451" algn="l" defTabSz="1933728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5pPr>
      <a:lvl6pPr marL="4834316" algn="l" defTabSz="1933728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6pPr>
      <a:lvl7pPr marL="5801177" algn="l" defTabSz="1933728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7pPr>
      <a:lvl8pPr marL="6768039" algn="l" defTabSz="1933728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8pPr>
      <a:lvl9pPr marL="7734902" algn="l" defTabSz="1933728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94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0">
            <a:alphaModFix amt="71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9C853D16-8440-5E47-A71B-9C85BDB6800B}"/>
              </a:ext>
            </a:extLst>
          </p:cNvPr>
          <p:cNvSpPr txBox="1">
            <a:spLocks/>
          </p:cNvSpPr>
          <p:nvPr userDrawn="1"/>
        </p:nvSpPr>
        <p:spPr>
          <a:xfrm>
            <a:off x="18900062" y="12801601"/>
            <a:ext cx="4877253" cy="444498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1097280" rtl="0" eaLnBrk="1" latinLnBrk="0" hangingPunct="1">
              <a:defRPr sz="10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9395FB3-9C97-154F-86B2-7E381B951268}" type="slidenum">
              <a:rPr lang="en-US" sz="1667" smtClean="0">
                <a:solidFill>
                  <a:schemeClr val="tx1"/>
                </a:solidFill>
              </a:rPr>
              <a:pPr/>
              <a:t>‹Nr.›</a:t>
            </a:fld>
            <a:endParaRPr lang="en-US" sz="1667">
              <a:solidFill>
                <a:schemeClr val="tx1"/>
              </a:solidFill>
            </a:endParaRP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F6C8CA0B-FFBE-F14A-A8CC-1EF844C515A4}"/>
              </a:ext>
            </a:extLst>
          </p:cNvPr>
          <p:cNvSpPr txBox="1">
            <a:spLocks/>
          </p:cNvSpPr>
          <p:nvPr userDrawn="1"/>
        </p:nvSpPr>
        <p:spPr>
          <a:xfrm>
            <a:off x="609856" y="12801601"/>
            <a:ext cx="4502023" cy="444498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marR="0" indent="0" algn="l" defTabSz="10975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67">
                <a:solidFill>
                  <a:schemeClr val="tx1"/>
                </a:solidFill>
              </a:rPr>
              <a:t>© 2023 IBM Corporation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854" y="613561"/>
            <a:ext cx="23167461" cy="1014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855" y="2057467"/>
            <a:ext cx="23167461" cy="10321147"/>
          </a:xfrm>
          <a:prstGeom prst="rect">
            <a:avLst/>
          </a:prstGeom>
        </p:spPr>
        <p:txBody>
          <a:bodyPr vert="horz" lIns="0" tIns="228600" rIns="0" bIns="0" rtlCol="0" anchor="t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92B93D2-8229-4642-9751-7699F899A7BA}"/>
              </a:ext>
            </a:extLst>
          </p:cNvPr>
          <p:cNvSpPr txBox="1"/>
          <p:nvPr userDrawn="1"/>
        </p:nvSpPr>
        <p:spPr>
          <a:xfrm>
            <a:off x="5072332" y="-649573"/>
            <a:ext cx="0" cy="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667"/>
              </a:spcBef>
            </a:pPr>
            <a:endParaRPr lang="en-GB" sz="3333" err="1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52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1" r:id="rId1"/>
    <p:sldLayoutId id="2147484072" r:id="rId2"/>
    <p:sldLayoutId id="2147484073" r:id="rId3"/>
    <p:sldLayoutId id="2147484074" r:id="rId4"/>
    <p:sldLayoutId id="2147484075" r:id="rId5"/>
    <p:sldLayoutId id="2147484076" r:id="rId6"/>
    <p:sldLayoutId id="2147484077" r:id="rId7"/>
    <p:sldLayoutId id="2147484078" r:id="rId8"/>
    <p:sldLayoutId id="2147484079" r:id="rId9"/>
    <p:sldLayoutId id="2147484080" r:id="rId10"/>
    <p:sldLayoutId id="2147484081" r:id="rId11"/>
    <p:sldLayoutId id="2147484082" r:id="rId12"/>
    <p:sldLayoutId id="2147484083" r:id="rId13"/>
    <p:sldLayoutId id="2147484084" r:id="rId14"/>
    <p:sldLayoutId id="2147484085" r:id="rId15"/>
    <p:sldLayoutId id="2147484086" r:id="rId16"/>
    <p:sldLayoutId id="2147484087" r:id="rId17"/>
    <p:sldLayoutId id="2147484088" r:id="rId18"/>
  </p:sldLayoutIdLst>
  <p:hf hdr="0" dt="0"/>
  <p:txStyles>
    <p:titleStyle>
      <a:lvl1pPr algn="l" defTabSz="1828837" rtl="0" eaLnBrk="1" latinLnBrk="0" hangingPunct="1">
        <a:lnSpc>
          <a:spcPct val="90000"/>
        </a:lnSpc>
        <a:spcBef>
          <a:spcPct val="0"/>
        </a:spcBef>
        <a:buNone/>
        <a:defRPr sz="6000" b="0" i="0" kern="120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</p:titleStyle>
    <p:bodyStyle>
      <a:lvl1pPr marL="0" indent="0" algn="l" defTabSz="1828837" rtl="0" eaLnBrk="1" latinLnBrk="0" hangingPunct="1">
        <a:lnSpc>
          <a:spcPct val="105000"/>
        </a:lnSpc>
        <a:spcBef>
          <a:spcPts val="2000"/>
        </a:spcBef>
        <a:buFontTx/>
        <a:buNone/>
        <a:tabLst/>
        <a:defRPr sz="3333" b="0" i="0" kern="120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381008" indent="-381008" algn="l" defTabSz="1828837" rtl="0" eaLnBrk="1" latinLnBrk="0" hangingPunct="1">
        <a:lnSpc>
          <a:spcPct val="105000"/>
        </a:lnSpc>
        <a:spcBef>
          <a:spcPts val="1667"/>
        </a:spcBef>
        <a:buFont typeface="LucidaGrande" charset="0"/>
        <a:buChar char="-"/>
        <a:defRPr sz="3333" b="0" i="0" kern="120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762015" indent="-381008" algn="l" defTabSz="1828837" rtl="0" eaLnBrk="1" latinLnBrk="0" hangingPunct="1">
        <a:lnSpc>
          <a:spcPct val="105000"/>
        </a:lnSpc>
        <a:spcBef>
          <a:spcPts val="0"/>
        </a:spcBef>
        <a:buSzPct val="80000"/>
        <a:buFont typeface="Arial" panose="020B0604020202020204" pitchFamily="34" charset="0"/>
        <a:buChar char="•"/>
        <a:defRPr sz="3333" b="0" i="0" kern="120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1143023" indent="-381008" algn="l" defTabSz="1828837" rtl="0" eaLnBrk="1" latinLnBrk="0" hangingPunct="1">
        <a:lnSpc>
          <a:spcPct val="105000"/>
        </a:lnSpc>
        <a:spcBef>
          <a:spcPts val="0"/>
        </a:spcBef>
        <a:buFont typeface=".AppleSystemUIFont" charset="-120"/>
        <a:buChar char="–"/>
        <a:defRPr sz="3333" b="0" i="0" kern="120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1524030" indent="-381008" algn="l" defTabSz="1828837" rtl="0" eaLnBrk="1" latinLnBrk="0" hangingPunct="1">
        <a:lnSpc>
          <a:spcPct val="105000"/>
        </a:lnSpc>
        <a:spcBef>
          <a:spcPts val="0"/>
        </a:spcBef>
        <a:buSzPct val="80000"/>
        <a:buFont typeface="Arial" panose="020B0604020202020204" pitchFamily="34" charset="0"/>
        <a:buChar char="•"/>
        <a:defRPr sz="3333" b="0" i="0" kern="120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5029301" indent="-457209" algn="l" defTabSz="182883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719" indent="-457209" algn="l" defTabSz="182883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137" indent="-457209" algn="l" defTabSz="182883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555" indent="-457209" algn="l" defTabSz="182883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37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18" algn="l" defTabSz="1828837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37" algn="l" defTabSz="1828837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55" algn="l" defTabSz="1828837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73" algn="l" defTabSz="1828837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91" algn="l" defTabSz="1828837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510" algn="l" defTabSz="1828837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928" algn="l" defTabSz="1828837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346" algn="l" defTabSz="1828837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8">
            <a:alphaModFix amt="71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3541592" y="12939014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576072" y="576072"/>
            <a:ext cx="22590125" cy="26511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574675" y="3327399"/>
            <a:ext cx="22590125" cy="86693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17434521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90" r:id="rId1"/>
    <p:sldLayoutId id="2147484091" r:id="rId2"/>
    <p:sldLayoutId id="2147484092" r:id="rId3"/>
    <p:sldLayoutId id="2147484093" r:id="rId4"/>
    <p:sldLayoutId id="2147484094" r:id="rId5"/>
    <p:sldLayoutId id="2147484095" r:id="rId6"/>
    <p:sldLayoutId id="2147484096" r:id="rId7"/>
    <p:sldLayoutId id="2147484097" r:id="rId8"/>
    <p:sldLayoutId id="2147484098" r:id="rId9"/>
    <p:sldLayoutId id="2147484099" r:id="rId10"/>
    <p:sldLayoutId id="2147484100" r:id="rId11"/>
    <p:sldLayoutId id="2147484101" r:id="rId12"/>
    <p:sldLayoutId id="2147484102" r:id="rId13"/>
    <p:sldLayoutId id="2147484103" r:id="rId14"/>
    <p:sldLayoutId id="2147484104" r:id="rId15"/>
    <p:sldLayoutId id="2147484105" r:id="rId16"/>
    <p:sldLayoutId id="2147484106" r:id="rId17"/>
    <p:sldLayoutId id="2147484107" r:id="rId18"/>
    <p:sldLayoutId id="2147484108" r:id="rId19"/>
    <p:sldLayoutId id="2147484109" r:id="rId20"/>
    <p:sldLayoutId id="2147484110" r:id="rId21"/>
    <p:sldLayoutId id="2147484111" r:id="rId22"/>
    <p:sldLayoutId id="2147484112" r:id="rId23"/>
    <p:sldLayoutId id="2147484113" r:id="rId24"/>
    <p:sldLayoutId id="2147484114" r:id="rId25"/>
    <p:sldLayoutId id="2147484115" r:id="rId26"/>
    <p:sldLayoutId id="2147484116" r:id="rId27"/>
    <p:sldLayoutId id="2147484117" r:id="rId28"/>
    <p:sldLayoutId id="2147484118" r:id="rId29"/>
    <p:sldLayoutId id="2147484119" r:id="rId30"/>
    <p:sldLayoutId id="2147484120" r:id="rId31"/>
    <p:sldLayoutId id="2147484121" r:id="rId32"/>
    <p:sldLayoutId id="2147484122" r:id="rId33"/>
    <p:sldLayoutId id="2147484123" r:id="rId34"/>
    <p:sldLayoutId id="2147484124" r:id="rId35"/>
    <p:sldLayoutId id="2147484125" r:id="rId36"/>
    <p:sldLayoutId id="2147484126" r:id="rId37"/>
    <p:sldLayoutId id="2147484127" r:id="rId38"/>
    <p:sldLayoutId id="2147484128" r:id="rId39"/>
    <p:sldLayoutId id="2147484129" r:id="rId40"/>
    <p:sldLayoutId id="2147484130" r:id="rId41"/>
    <p:sldLayoutId id="2147484131" r:id="rId42"/>
    <p:sldLayoutId id="2147484132" r:id="rId43"/>
    <p:sldLayoutId id="2147484133" r:id="rId44"/>
    <p:sldLayoutId id="2147484134" r:id="rId45"/>
    <p:sldLayoutId id="2147484135" r:id="rId46"/>
  </p:sldLayoutIdLst>
  <p:transition spd="med"/>
  <p:hf hdr="0" dt="0"/>
  <p:txStyles>
    <p:titleStyle>
      <a:lvl1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362568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725139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1087706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1450276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329184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658368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987552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1143000" marR="0" indent="-457200" algn="l" defTabSz="2438400" rtl="0" eaLnBrk="1" latinLnBrk="0" hangingPunct="1">
        <a:lnSpc>
          <a:spcPct val="110000"/>
        </a:lnSpc>
        <a:spcBef>
          <a:spcPts val="29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1843060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2205631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2568200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2930769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342991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685982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1028974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1371965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1714956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2057948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2400940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2743931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80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9">
            <a:alphaModFix amt="71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3541592" y="12939014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576072" y="576072"/>
            <a:ext cx="22590125" cy="26511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574675" y="3327399"/>
            <a:ext cx="22590125" cy="86693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25948753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45" r:id="rId1"/>
    <p:sldLayoutId id="2147484146" r:id="rId2"/>
    <p:sldLayoutId id="2147484147" r:id="rId3"/>
    <p:sldLayoutId id="2147484148" r:id="rId4"/>
    <p:sldLayoutId id="2147484149" r:id="rId5"/>
    <p:sldLayoutId id="2147484150" r:id="rId6"/>
    <p:sldLayoutId id="2147484151" r:id="rId7"/>
    <p:sldLayoutId id="2147484152" r:id="rId8"/>
    <p:sldLayoutId id="2147484153" r:id="rId9"/>
    <p:sldLayoutId id="2147484154" r:id="rId10"/>
    <p:sldLayoutId id="2147484155" r:id="rId11"/>
    <p:sldLayoutId id="2147484156" r:id="rId12"/>
    <p:sldLayoutId id="2147484157" r:id="rId13"/>
    <p:sldLayoutId id="2147484158" r:id="rId14"/>
    <p:sldLayoutId id="2147484159" r:id="rId15"/>
    <p:sldLayoutId id="2147484160" r:id="rId16"/>
    <p:sldLayoutId id="2147484161" r:id="rId17"/>
    <p:sldLayoutId id="2147484162" r:id="rId18"/>
    <p:sldLayoutId id="2147484163" r:id="rId19"/>
    <p:sldLayoutId id="2147484164" r:id="rId20"/>
    <p:sldLayoutId id="2147484165" r:id="rId21"/>
    <p:sldLayoutId id="2147484166" r:id="rId22"/>
    <p:sldLayoutId id="2147484167" r:id="rId23"/>
    <p:sldLayoutId id="2147484168" r:id="rId24"/>
    <p:sldLayoutId id="2147484169" r:id="rId25"/>
    <p:sldLayoutId id="2147484170" r:id="rId26"/>
    <p:sldLayoutId id="2147484171" r:id="rId27"/>
    <p:sldLayoutId id="2147484172" r:id="rId28"/>
    <p:sldLayoutId id="2147484173" r:id="rId29"/>
    <p:sldLayoutId id="2147484174" r:id="rId30"/>
    <p:sldLayoutId id="2147484175" r:id="rId31"/>
    <p:sldLayoutId id="2147484176" r:id="rId32"/>
    <p:sldLayoutId id="2147484177" r:id="rId33"/>
    <p:sldLayoutId id="2147484178" r:id="rId34"/>
    <p:sldLayoutId id="2147484179" r:id="rId35"/>
    <p:sldLayoutId id="2147484180" r:id="rId36"/>
    <p:sldLayoutId id="2147484181" r:id="rId37"/>
    <p:sldLayoutId id="2147484182" r:id="rId38"/>
    <p:sldLayoutId id="2147484183" r:id="rId39"/>
    <p:sldLayoutId id="2147484184" r:id="rId40"/>
    <p:sldLayoutId id="2147484185" r:id="rId41"/>
    <p:sldLayoutId id="2147484186" r:id="rId42"/>
    <p:sldLayoutId id="2147484187" r:id="rId43"/>
    <p:sldLayoutId id="2147484188" r:id="rId44"/>
    <p:sldLayoutId id="2147484189" r:id="rId45"/>
    <p:sldLayoutId id="2147484190" r:id="rId46"/>
    <p:sldLayoutId id="2147484192" r:id="rId47"/>
  </p:sldLayoutIdLst>
  <p:transition spd="med"/>
  <p:hf hdr="0" dt="0"/>
  <p:txStyles>
    <p:titleStyle>
      <a:lvl1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362568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725139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1087706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1450276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329184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658368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987552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1143000" marR="0" indent="-457200" algn="l" defTabSz="2438400" rtl="0" eaLnBrk="1" latinLnBrk="0" hangingPunct="1">
        <a:lnSpc>
          <a:spcPct val="110000"/>
        </a:lnSpc>
        <a:spcBef>
          <a:spcPts val="29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1843060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2205631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2568200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2930769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342991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685982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1028974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1371965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1714956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2057948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2400940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2743931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80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2">
            <a:alphaModFix amt="71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3541592" y="12939014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576072" y="576072"/>
            <a:ext cx="22590125" cy="26511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574675" y="3327399"/>
            <a:ext cx="22590125" cy="86693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Consulting / ©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66261679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96" r:id="rId1"/>
    <p:sldLayoutId id="2147484197" r:id="rId2"/>
    <p:sldLayoutId id="2147484198" r:id="rId3"/>
    <p:sldLayoutId id="2147484199" r:id="rId4"/>
    <p:sldLayoutId id="2147484200" r:id="rId5"/>
    <p:sldLayoutId id="2147484201" r:id="rId6"/>
    <p:sldLayoutId id="2147484202" r:id="rId7"/>
    <p:sldLayoutId id="2147484203" r:id="rId8"/>
    <p:sldLayoutId id="2147484204" r:id="rId9"/>
    <p:sldLayoutId id="2147484205" r:id="rId10"/>
    <p:sldLayoutId id="2147484206" r:id="rId11"/>
    <p:sldLayoutId id="2147484207" r:id="rId12"/>
    <p:sldLayoutId id="2147484208" r:id="rId13"/>
    <p:sldLayoutId id="2147484209" r:id="rId14"/>
    <p:sldLayoutId id="2147484210" r:id="rId15"/>
    <p:sldLayoutId id="2147484211" r:id="rId16"/>
    <p:sldLayoutId id="2147484212" r:id="rId17"/>
    <p:sldLayoutId id="2147484213" r:id="rId18"/>
    <p:sldLayoutId id="2147484214" r:id="rId19"/>
    <p:sldLayoutId id="2147484215" r:id="rId20"/>
    <p:sldLayoutId id="2147484216" r:id="rId21"/>
    <p:sldLayoutId id="2147484217" r:id="rId22"/>
    <p:sldLayoutId id="2147484218" r:id="rId23"/>
    <p:sldLayoutId id="2147484219" r:id="rId24"/>
    <p:sldLayoutId id="2147484220" r:id="rId25"/>
    <p:sldLayoutId id="2147484221" r:id="rId26"/>
    <p:sldLayoutId id="2147484222" r:id="rId27"/>
    <p:sldLayoutId id="2147484223" r:id="rId28"/>
    <p:sldLayoutId id="2147484224" r:id="rId29"/>
    <p:sldLayoutId id="2147484225" r:id="rId30"/>
    <p:sldLayoutId id="2147484226" r:id="rId31"/>
    <p:sldLayoutId id="2147484227" r:id="rId32"/>
    <p:sldLayoutId id="2147484228" r:id="rId33"/>
    <p:sldLayoutId id="2147484229" r:id="rId34"/>
    <p:sldLayoutId id="2147484230" r:id="rId35"/>
    <p:sldLayoutId id="2147484231" r:id="rId36"/>
    <p:sldLayoutId id="2147484232" r:id="rId37"/>
    <p:sldLayoutId id="2147484233" r:id="rId38"/>
    <p:sldLayoutId id="2147484234" r:id="rId39"/>
    <p:sldLayoutId id="2147484235" r:id="rId40"/>
    <p:sldLayoutId id="2147484236" r:id="rId41"/>
    <p:sldLayoutId id="2147484237" r:id="rId42"/>
    <p:sldLayoutId id="2147484238" r:id="rId43"/>
    <p:sldLayoutId id="2147484239" r:id="rId44"/>
    <p:sldLayoutId id="2147484240" r:id="rId45"/>
    <p:sldLayoutId id="2147484241" r:id="rId46"/>
    <p:sldLayoutId id="2147484242" r:id="rId47"/>
    <p:sldLayoutId id="2147484243" r:id="rId48"/>
    <p:sldLayoutId id="2147484244" r:id="rId49"/>
    <p:sldLayoutId id="2147484246" r:id="rId50"/>
  </p:sldLayoutIdLst>
  <p:transition spd="med"/>
  <p:hf hdr="0" dt="0"/>
  <p:txStyles>
    <p:titleStyle>
      <a:lvl1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362568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725139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1087706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1450276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329184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658368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987552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1143000" marR="0" indent="-457200" algn="l" defTabSz="2438400" rtl="0" eaLnBrk="1" latinLnBrk="0" hangingPunct="1">
        <a:lnSpc>
          <a:spcPct val="110000"/>
        </a:lnSpc>
        <a:spcBef>
          <a:spcPts val="29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1843060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2205631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2568200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2930769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342991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685982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1028974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1371965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1714956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2057948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2400940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2743931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80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.emf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image" Target="../media/image52.png"/><Relationship Id="rId7" Type="http://schemas.openxmlformats.org/officeDocument/2006/relationships/image" Target="../media/image7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08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10" Type="http://schemas.openxmlformats.org/officeDocument/2006/relationships/image" Target="../media/image30.svg"/><Relationship Id="rId4" Type="http://schemas.openxmlformats.org/officeDocument/2006/relationships/image" Target="../media/image70.png"/><Relationship Id="rId9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7" Type="http://schemas.openxmlformats.org/officeDocument/2006/relationships/image" Target="../media/image2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10.xml"/><Relationship Id="rId6" Type="http://schemas.openxmlformats.org/officeDocument/2006/relationships/image" Target="../media/image76.svg"/><Relationship Id="rId5" Type="http://schemas.openxmlformats.org/officeDocument/2006/relationships/image" Target="../media/image22.png"/><Relationship Id="rId4" Type="http://schemas.microsoft.com/office/2007/relationships/hdphoto" Target="../media/hdphoto5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0.svg"/><Relationship Id="rId3" Type="http://schemas.openxmlformats.org/officeDocument/2006/relationships/image" Target="../media/image24.png"/><Relationship Id="rId7" Type="http://schemas.openxmlformats.org/officeDocument/2006/relationships/image" Target="../media/image26.jpeg"/><Relationship Id="rId12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microsoft.com/office/2007/relationships/hdphoto" Target="../media/hdphoto2.wdp"/><Relationship Id="rId11" Type="http://schemas.microsoft.com/office/2007/relationships/hdphoto" Target="../media/hdphoto4.wdp"/><Relationship Id="rId5" Type="http://schemas.openxmlformats.org/officeDocument/2006/relationships/image" Target="../media/image25.png"/><Relationship Id="rId10" Type="http://schemas.openxmlformats.org/officeDocument/2006/relationships/image" Target="../media/image28.png"/><Relationship Id="rId4" Type="http://schemas.microsoft.com/office/2007/relationships/hdphoto" Target="../media/hdphoto1.wdp"/><Relationship Id="rId9" Type="http://schemas.microsoft.com/office/2007/relationships/hdphoto" Target="../media/hdphoto3.wdp"/><Relationship Id="rId14" Type="http://schemas.openxmlformats.org/officeDocument/2006/relationships/image" Target="../media/image3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32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33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12" Type="http://schemas.openxmlformats.org/officeDocument/2006/relationships/image" Target="../media/image45.sv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30.svg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38.png"/><Relationship Id="rId15" Type="http://schemas.openxmlformats.org/officeDocument/2006/relationships/image" Target="../media/image29.png"/><Relationship Id="rId10" Type="http://schemas.openxmlformats.org/officeDocument/2006/relationships/image" Target="../media/image43.png"/><Relationship Id="rId4" Type="http://schemas.openxmlformats.org/officeDocument/2006/relationships/image" Target="../media/image37.png"/><Relationship Id="rId9" Type="http://schemas.openxmlformats.org/officeDocument/2006/relationships/image" Target="../media/image42.png"/><Relationship Id="rId14" Type="http://schemas.openxmlformats.org/officeDocument/2006/relationships/image" Target="../media/image47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49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30.svg"/><Relationship Id="rId4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svg"/><Relationship Id="rId3" Type="http://schemas.openxmlformats.org/officeDocument/2006/relationships/image" Target="../media/image29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10" Type="http://schemas.openxmlformats.org/officeDocument/2006/relationships/image" Target="../media/image57.png"/><Relationship Id="rId4" Type="http://schemas.openxmlformats.org/officeDocument/2006/relationships/image" Target="../media/image30.svg"/><Relationship Id="rId9" Type="http://schemas.openxmlformats.org/officeDocument/2006/relationships/image" Target="../media/image5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svg"/><Relationship Id="rId13" Type="http://schemas.openxmlformats.org/officeDocument/2006/relationships/image" Target="../media/image66.png"/><Relationship Id="rId3" Type="http://schemas.openxmlformats.org/officeDocument/2006/relationships/image" Target="../media/image29.png"/><Relationship Id="rId7" Type="http://schemas.openxmlformats.org/officeDocument/2006/relationships/image" Target="../media/image60.png"/><Relationship Id="rId12" Type="http://schemas.openxmlformats.org/officeDocument/2006/relationships/image" Target="../media/image65.sv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69.svg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59.svg"/><Relationship Id="rId11" Type="http://schemas.openxmlformats.org/officeDocument/2006/relationships/image" Target="../media/image64.png"/><Relationship Id="rId5" Type="http://schemas.openxmlformats.org/officeDocument/2006/relationships/image" Target="../media/image58.png"/><Relationship Id="rId15" Type="http://schemas.openxmlformats.org/officeDocument/2006/relationships/image" Target="../media/image68.png"/><Relationship Id="rId10" Type="http://schemas.openxmlformats.org/officeDocument/2006/relationships/image" Target="../media/image63.svg"/><Relationship Id="rId4" Type="http://schemas.openxmlformats.org/officeDocument/2006/relationships/image" Target="../media/image30.svg"/><Relationship Id="rId9" Type="http://schemas.openxmlformats.org/officeDocument/2006/relationships/image" Target="../media/image62.png"/><Relationship Id="rId14" Type="http://schemas.openxmlformats.org/officeDocument/2006/relationships/image" Target="../media/image6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4">
            <a:extLst>
              <a:ext uri="{FF2B5EF4-FFF2-40B4-BE49-F238E27FC236}">
                <a16:creationId xmlns:a16="http://schemas.microsoft.com/office/drawing/2014/main" id="{8DB7EEAF-7599-8AC6-7390-5394A11B5E1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786"/>
            <a:ext cx="24387175" cy="137177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CB8F1636-9B38-AC0E-FB90-EA894AF27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9600" dirty="0">
                <a:solidFill>
                  <a:schemeClr val="accent1"/>
                </a:solidFill>
                <a:latin typeface="IBM Plex Sans Light" panose="020B0403050203000203" pitchFamily="34" charset="0"/>
              </a:rPr>
              <a:t>Possibility.</a:t>
            </a:r>
            <a:br>
              <a:rPr lang="de-DE" sz="9600" dirty="0">
                <a:solidFill>
                  <a:schemeClr val="accent1"/>
                </a:solidFill>
                <a:latin typeface="IBM Plex Sans Light" panose="020B0403050203000203" pitchFamily="34" charset="0"/>
              </a:rPr>
            </a:br>
            <a:r>
              <a:rPr lang="de-DE" sz="9600" dirty="0">
                <a:solidFill>
                  <a:schemeClr val="accent1"/>
                </a:solidFill>
                <a:latin typeface="IBM Plex Sans Light" panose="020B0403050203000203" pitchFamily="34" charset="0"/>
              </a:rPr>
              <a:t>Curiosity.</a:t>
            </a:r>
            <a:br>
              <a:rPr lang="de-DE" sz="9600" dirty="0">
                <a:solidFill>
                  <a:schemeClr val="accent1"/>
                </a:solidFill>
                <a:latin typeface="IBM Plex Sans Light" panose="020B0403050203000203" pitchFamily="34" charset="0"/>
              </a:rPr>
            </a:br>
            <a:r>
              <a:rPr lang="de-DE" sz="9600" dirty="0">
                <a:solidFill>
                  <a:schemeClr val="accent1"/>
                </a:solidFill>
                <a:latin typeface="IBM Plex Sans Light" panose="020B0403050203000203" pitchFamily="34" charset="0"/>
              </a:rPr>
              <a:t>Individuality.</a:t>
            </a:r>
            <a:br>
              <a:rPr lang="de-DE" sz="9600" dirty="0">
                <a:solidFill>
                  <a:schemeClr val="accent1"/>
                </a:solidFill>
                <a:latin typeface="IBM Plex Sans Light" panose="020B0403050203000203" pitchFamily="34" charset="0"/>
              </a:rPr>
            </a:br>
            <a:endParaRPr lang="de-DE" sz="9600" dirty="0">
              <a:solidFill>
                <a:schemeClr val="accent1"/>
              </a:solidFill>
              <a:latin typeface="IBM Plex Sans Light" panose="020B0403050203000203" pitchFamily="34" charset="0"/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F2615B8-AA08-6C22-3583-2AF51547548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75997" y="12800826"/>
            <a:ext cx="7152860" cy="380950"/>
          </a:xfrm>
        </p:spPr>
        <p:txBody>
          <a:bodyPr/>
          <a:lstStyle/>
          <a:p>
            <a:r>
              <a:rPr lang="de-DE" sz="1800" dirty="0"/>
              <a:t>IBM @ Q-Hack 24 / © 2024 IBM Corporation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4B98F10-2713-0219-8524-18182E1CDB45}"/>
              </a:ext>
            </a:extLst>
          </p:cNvPr>
          <p:cNvSpPr txBox="1">
            <a:spLocks/>
          </p:cNvSpPr>
          <p:nvPr/>
        </p:nvSpPr>
        <p:spPr>
          <a:xfrm>
            <a:off x="713615" y="5631186"/>
            <a:ext cx="12017645" cy="34033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>
            <a:lvl1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200" b="0" i="0" u="none" strike="noStrike" cap="none" spc="0" baseline="0">
                <a:solidFill>
                  <a:schemeClr val="tx2"/>
                </a:solidFill>
                <a:uFillTx/>
                <a:latin typeface="IBM Plex Sans ExtLt" panose="020B0303050203000203" pitchFamily="34" charset="0"/>
                <a:ea typeface="+mj-ea"/>
                <a:cs typeface="+mj-cs"/>
                <a:sym typeface="IBM Plex Sans Light"/>
              </a:defRPr>
            </a:lvl1pPr>
            <a:lvl2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0" marR="0" indent="362568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0" marR="0" indent="725139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0" marR="0" indent="108770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0" marR="0" indent="145027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5400" kern="0" dirty="0">
                <a:solidFill>
                  <a:schemeClr val="tx1"/>
                </a:solidFill>
                <a:latin typeface="+mj-lt"/>
              </a:rPr>
              <a:t>IBM @ Q-Hack 2024</a:t>
            </a:r>
          </a:p>
          <a:p>
            <a:pPr>
              <a:lnSpc>
                <a:spcPct val="150000"/>
              </a:lnSpc>
            </a:pPr>
            <a:r>
              <a:rPr lang="en-US" sz="4400" kern="0" dirty="0">
                <a:solidFill>
                  <a:schemeClr val="accent2"/>
                </a:solidFill>
                <a:latin typeface="+mj-lt"/>
              </a:rPr>
              <a:t>April 3 – 4, 2024</a:t>
            </a:r>
          </a:p>
          <a:p>
            <a:pPr>
              <a:lnSpc>
                <a:spcPct val="150000"/>
              </a:lnSpc>
            </a:pPr>
            <a:r>
              <a:rPr lang="en-US" sz="4400" kern="0" dirty="0">
                <a:solidFill>
                  <a:schemeClr val="accent2"/>
                </a:solidFill>
                <a:latin typeface="+mj-lt"/>
              </a:rPr>
              <a:t>Mannheim, Germany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407ED1B-579C-6BED-9EFC-FD1574681B1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177496" y="11522191"/>
            <a:ext cx="1695246" cy="1695246"/>
          </a:xfrm>
          <a:prstGeom prst="rect">
            <a:avLst/>
          </a:prstGeom>
        </p:spPr>
      </p:pic>
      <p:pic>
        <p:nvPicPr>
          <p:cNvPr id="12" name="Picture 11" descr="IBM 8-bar logo">
            <a:extLst>
              <a:ext uri="{FF2B5EF4-FFF2-40B4-BE49-F238E27FC236}">
                <a16:creationId xmlns:a16="http://schemas.microsoft.com/office/drawing/2014/main" id="{A267E7EC-1EAC-ED3D-1D25-CCABD69C13E2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lum bright="100000"/>
          </a:blip>
          <a:stretch>
            <a:fillRect/>
          </a:stretch>
        </p:blipFill>
        <p:spPr>
          <a:xfrm>
            <a:off x="21255461" y="12040336"/>
            <a:ext cx="2555717" cy="950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94553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5D3927E-15C7-BCCE-B482-6BB5DBB2B86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4367000" y="4010566"/>
            <a:ext cx="6281172" cy="629551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C2BA3DE-45A9-4B59-BD3D-C3F8024D24B2}"/>
              </a:ext>
            </a:extLst>
          </p:cNvPr>
          <p:cNvSpPr txBox="1"/>
          <p:nvPr/>
        </p:nvSpPr>
        <p:spPr>
          <a:xfrm>
            <a:off x="2996109" y="3706805"/>
            <a:ext cx="16229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等线" panose="02010600030101010101" pitchFamily="2" charset="-122"/>
                <a:cs typeface="+mn-cs"/>
              </a:rPr>
              <a:t>ibm.com</a:t>
            </a:r>
            <a:r>
              <a:rPr kumimoji="0" lang="en-US" altLang="zh-CN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等线" panose="02010600030101010101" pitchFamily="2" charset="-122"/>
                <a:cs typeface="+mn-cs"/>
              </a:rPr>
              <a:t>/caree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46B76E2-95B7-47EB-AE62-21BED1EA0B5E}"/>
              </a:ext>
            </a:extLst>
          </p:cNvPr>
          <p:cNvSpPr txBox="1"/>
          <p:nvPr/>
        </p:nvSpPr>
        <p:spPr>
          <a:xfrm>
            <a:off x="13388733" y="1901095"/>
            <a:ext cx="823770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Register to become part of our talent network or apply to </a:t>
            </a:r>
            <a:r>
              <a:rPr lang="en-US" sz="4000" dirty="0">
                <a:solidFill>
                  <a:schemeClr val="accent1"/>
                </a:solidFill>
                <a:latin typeface="IBM Plex Sans" panose="020B0503050203000203" pitchFamily="34" charset="0"/>
              </a:rPr>
              <a:t>one of our selected positions for Q-Hack.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583CDA-24FC-CD47-B3D3-302CBAB2AC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317192" y="26001138"/>
            <a:ext cx="310983" cy="369332"/>
          </a:xfrm>
        </p:spPr>
        <p:txBody>
          <a:bodyPr/>
          <a:lstStyle/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CB94D-C957-2C4D-A81B-4A98252E3F7E}" type="slidenum"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IBM Plex Sans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IBM Plex Sans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711D0291-B07F-8546-B700-2ACA9490A4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028" y="770937"/>
            <a:ext cx="21031200" cy="1393730"/>
          </a:xfrm>
        </p:spPr>
        <p:txBody>
          <a:bodyPr/>
          <a:lstStyle/>
          <a:p>
            <a:r>
              <a:rPr lang="en-US" sz="6000" dirty="0">
                <a:solidFill>
                  <a:schemeClr val="accent1"/>
                </a:solidFill>
              </a:rPr>
              <a:t>Let’s stay connected.</a:t>
            </a:r>
          </a:p>
        </p:txBody>
      </p:sp>
      <p:pic>
        <p:nvPicPr>
          <p:cNvPr id="16" name="Picture 15" descr="A picture containing ax, vector graphics&#10;&#10;Description automatically generated">
            <a:extLst>
              <a:ext uri="{FF2B5EF4-FFF2-40B4-BE49-F238E27FC236}">
                <a16:creationId xmlns:a16="http://schemas.microsoft.com/office/drawing/2014/main" id="{A248AB23-6732-FF48-B065-7AE1525CB3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65225" y="7155198"/>
            <a:ext cx="601638" cy="489183"/>
          </a:xfrm>
          <a:prstGeom prst="rect">
            <a:avLst/>
          </a:prstGeom>
        </p:spPr>
      </p:pic>
      <p:pic>
        <p:nvPicPr>
          <p:cNvPr id="18" name="Picture 17" descr="Icon&#10;&#10;Description automatically generated with medium confidence">
            <a:extLst>
              <a:ext uri="{FF2B5EF4-FFF2-40B4-BE49-F238E27FC236}">
                <a16:creationId xmlns:a16="http://schemas.microsoft.com/office/drawing/2014/main" id="{440F1198-225D-E94D-9DEA-1FE6618D8DC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65225" y="11121441"/>
            <a:ext cx="537292" cy="376104"/>
          </a:xfrm>
          <a:prstGeom prst="rect">
            <a:avLst/>
          </a:prstGeom>
        </p:spPr>
      </p:pic>
      <p:pic>
        <p:nvPicPr>
          <p:cNvPr id="20" name="Picture 19" descr="Logo, icon&#10;&#10;Description automatically generated">
            <a:extLst>
              <a:ext uri="{FF2B5EF4-FFF2-40B4-BE49-F238E27FC236}">
                <a16:creationId xmlns:a16="http://schemas.microsoft.com/office/drawing/2014/main" id="{8C02732D-597D-FB48-82E7-B0CADF7E36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01924" y="9083821"/>
            <a:ext cx="504764" cy="502013"/>
          </a:xfrm>
          <a:prstGeom prst="rect">
            <a:avLst/>
          </a:prstGeom>
        </p:spPr>
      </p:pic>
      <p:pic>
        <p:nvPicPr>
          <p:cNvPr id="22" name="Picture 21" descr="Icon&#10;&#10;Description automatically generated">
            <a:extLst>
              <a:ext uri="{FF2B5EF4-FFF2-40B4-BE49-F238E27FC236}">
                <a16:creationId xmlns:a16="http://schemas.microsoft.com/office/drawing/2014/main" id="{0B920BA8-DCCC-A74B-AC5C-7563D3914C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01920" y="5247941"/>
            <a:ext cx="504764" cy="504764"/>
          </a:xfrm>
          <a:prstGeom prst="rect">
            <a:avLst/>
          </a:prstGeom>
        </p:spPr>
      </p:pic>
      <p:pic>
        <p:nvPicPr>
          <p:cNvPr id="24" name="Picture 23" descr="Logo, icon&#10;&#10;Description automatically generated">
            <a:extLst>
              <a:ext uri="{FF2B5EF4-FFF2-40B4-BE49-F238E27FC236}">
                <a16:creationId xmlns:a16="http://schemas.microsoft.com/office/drawing/2014/main" id="{F061861E-FE86-AB46-808A-4EEDB18C192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46916" y="3646376"/>
            <a:ext cx="556192" cy="48791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8FC290E7-3121-1248-B697-558071A5E218}"/>
              </a:ext>
            </a:extLst>
          </p:cNvPr>
          <p:cNvSpPr txBox="1"/>
          <p:nvPr/>
        </p:nvSpPr>
        <p:spPr>
          <a:xfrm>
            <a:off x="2985546" y="5357890"/>
            <a:ext cx="107492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等线" panose="02010600030101010101" pitchFamily="2" charset="-122"/>
                <a:cs typeface="+mn-cs"/>
              </a:rPr>
              <a:t>instagram.com/LifeatIBM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F643834-5D35-8F49-B36B-EBF5529AD221}"/>
              </a:ext>
            </a:extLst>
          </p:cNvPr>
          <p:cNvSpPr txBox="1"/>
          <p:nvPr/>
        </p:nvSpPr>
        <p:spPr>
          <a:xfrm>
            <a:off x="2985549" y="7152235"/>
            <a:ext cx="75840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等线" panose="02010600030101010101" pitchFamily="2" charset="-122"/>
                <a:cs typeface="+mn-cs"/>
              </a:rPr>
              <a:t>twitter.com/LifeatIBM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E4FC9FA-B892-6F49-83E0-995CD94BD494}"/>
              </a:ext>
            </a:extLst>
          </p:cNvPr>
          <p:cNvSpPr txBox="1"/>
          <p:nvPr/>
        </p:nvSpPr>
        <p:spPr>
          <a:xfrm>
            <a:off x="2985547" y="9179068"/>
            <a:ext cx="102251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等线" panose="02010600030101010101" pitchFamily="2" charset="-122"/>
                <a:cs typeface="+mn-cs"/>
              </a:rPr>
              <a:t>linkedin.com/company/IBM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8849273-E06E-764D-ACA4-8977E7196AA6}"/>
              </a:ext>
            </a:extLst>
          </p:cNvPr>
          <p:cNvSpPr txBox="1"/>
          <p:nvPr/>
        </p:nvSpPr>
        <p:spPr>
          <a:xfrm>
            <a:off x="2989265" y="11069662"/>
            <a:ext cx="102251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等线" panose="02010600030101010101" pitchFamily="2" charset="-122"/>
                <a:cs typeface="+mn-cs"/>
              </a:rPr>
              <a:t>youtube.com/LifeAtIB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79AD542-1C41-4BD6-9D64-9AB454F46A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IBM Consulting / © IBM Corporation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7C8AEDC-1314-477C-3C9D-DCDA0303FB1D}"/>
              </a:ext>
            </a:extLst>
          </p:cNvPr>
          <p:cNvSpPr txBox="1">
            <a:spLocks/>
          </p:cNvSpPr>
          <p:nvPr/>
        </p:nvSpPr>
        <p:spPr>
          <a:xfrm>
            <a:off x="575997" y="12800826"/>
            <a:ext cx="7152860" cy="3809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IBM @ Q-Hack 24 / © 2024 IBM Corpor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3542DD-8436-FEAB-EDFC-798BE9CA93F0}"/>
              </a:ext>
            </a:extLst>
          </p:cNvPr>
          <p:cNvSpPr txBox="1"/>
          <p:nvPr/>
        </p:nvSpPr>
        <p:spPr>
          <a:xfrm>
            <a:off x="24658320" y="-1889760"/>
            <a:ext cx="0" cy="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rtlCol="0">
            <a:noAutofit/>
          </a:bodyPr>
          <a:lstStyle/>
          <a:p>
            <a:pPr marL="444465" indent="-446749" algn="l" defTabSz="2438400">
              <a:spcBef>
                <a:spcPts val="2900"/>
              </a:spcBef>
              <a:buSzPct val="100000"/>
              <a:buFontTx/>
              <a:buChar char="–"/>
            </a:pPr>
            <a:endParaRPr lang="en-US" kern="0" dirty="0">
              <a:solidFill>
                <a:srgbClr val="000000"/>
              </a:solidFill>
              <a:ea typeface="+mj-ea"/>
              <a:cs typeface="+mj-cs"/>
              <a:sym typeface="IBM Plex Sans Light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12C1F354-A860-B012-6708-52C6EF67AAE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2887050" y="14893"/>
            <a:ext cx="1403653" cy="2244437"/>
          </a:xfrm>
          <a:prstGeom prst="rect">
            <a:avLst/>
          </a:prstGeom>
        </p:spPr>
      </p:pic>
      <p:sp>
        <p:nvSpPr>
          <p:cNvPr id="10" name="TextBox 11">
            <a:extLst>
              <a:ext uri="{FF2B5EF4-FFF2-40B4-BE49-F238E27FC236}">
                <a16:creationId xmlns:a16="http://schemas.microsoft.com/office/drawing/2014/main" id="{21527B3E-7C88-4535-178A-05964160C437}"/>
              </a:ext>
            </a:extLst>
          </p:cNvPr>
          <p:cNvSpPr txBox="1"/>
          <p:nvPr/>
        </p:nvSpPr>
        <p:spPr>
          <a:xfrm>
            <a:off x="13388732" y="10492738"/>
            <a:ext cx="823770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>
                <a:solidFill>
                  <a:schemeClr val="accent1"/>
                </a:solidFill>
                <a:latin typeface="IBM Plex Sans" panose="020B0503050203000203" pitchFamily="34" charset="0"/>
              </a:rPr>
              <a:t>For any immediate questions, feel free to reach out to us and have a chat during the event!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13" name="Slide Number Placeholder 9">
            <a:extLst>
              <a:ext uri="{FF2B5EF4-FFF2-40B4-BE49-F238E27FC236}">
                <a16:creationId xmlns:a16="http://schemas.microsoft.com/office/drawing/2014/main" id="{4458DED8-D0D4-B8EE-D44F-DDEE36B02224}"/>
              </a:ext>
            </a:extLst>
          </p:cNvPr>
          <p:cNvSpPr txBox="1">
            <a:spLocks/>
          </p:cNvSpPr>
          <p:nvPr/>
        </p:nvSpPr>
        <p:spPr>
          <a:xfrm>
            <a:off x="23421475" y="12889286"/>
            <a:ext cx="438276" cy="31644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9196"/>
            <a:fld id="{86CB4B4D-7CA3-9044-876B-883B54F8677D}" type="slidenum">
              <a:rPr lang="en-US" sz="1600">
                <a:solidFill>
                  <a:srgbClr val="000000"/>
                </a:solidFill>
                <a:latin typeface="IBM Plex Sans" panose="020B0503050203000203" pitchFamily="34" charset="0"/>
              </a:rPr>
              <a:pPr defTabSz="1829196"/>
              <a:t>10</a:t>
            </a:fld>
            <a:endParaRPr lang="en-US" sz="1600" dirty="0">
              <a:solidFill>
                <a:srgbClr val="000000"/>
              </a:solidFill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39106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5">
            <a:extLst>
              <a:ext uri="{FF2B5EF4-FFF2-40B4-BE49-F238E27FC236}">
                <a16:creationId xmlns:a16="http://schemas.microsoft.com/office/drawing/2014/main" id="{1CA27D15-8F82-64BC-1A0F-08171F881FB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81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1000"/>
                    </a14:imgEffect>
                  </a14:imgLayer>
                </a14:imgProps>
              </a:ext>
            </a:extLst>
          </a:blip>
          <a:srcRect b="16"/>
          <a:stretch/>
        </p:blipFill>
        <p:spPr>
          <a:xfrm rot="10800000">
            <a:off x="3179" y="67798"/>
            <a:ext cx="24383996" cy="13714214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C8E85FA-831C-FA41-2D9D-A1802ED2C3CD}"/>
              </a:ext>
            </a:extLst>
          </p:cNvPr>
          <p:cNvSpPr txBox="1"/>
          <p:nvPr/>
        </p:nvSpPr>
        <p:spPr>
          <a:xfrm>
            <a:off x="9809903" y="5075777"/>
            <a:ext cx="4056864" cy="29645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829128"/>
            <a:r>
              <a:rPr lang="en-DE" sz="10800" dirty="0">
                <a:solidFill>
                  <a:schemeClr val="bg1"/>
                </a:solidFill>
                <a:latin typeface="IBM Plex Sans Thin" panose="020B0203050203000203" pitchFamily="34" charset="0"/>
              </a:rPr>
              <a:t>×</a:t>
            </a:r>
            <a:r>
              <a:rPr lang="en-US" sz="18665" dirty="0">
                <a:solidFill>
                  <a:schemeClr val="bg1"/>
                </a:solidFill>
                <a:latin typeface="IBM Plex Sans Thin" panose="020B0203050203000203" pitchFamily="34" charset="0"/>
              </a:rPr>
              <a:t> </a:t>
            </a:r>
            <a:endParaRPr lang="en-DE" sz="18665" dirty="0">
              <a:solidFill>
                <a:schemeClr val="bg1"/>
              </a:solidFill>
              <a:latin typeface="IBM Plex Sans Thin" panose="020B0203050203000203" pitchFamily="34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FE974EAE-B519-9AE6-DC51-FC2A6F921F5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31766" y="5879863"/>
            <a:ext cx="1956274" cy="1956274"/>
          </a:xfrm>
          <a:prstGeom prst="rect">
            <a:avLst/>
          </a:prstGeom>
        </p:spPr>
      </p:pic>
      <p:pic>
        <p:nvPicPr>
          <p:cNvPr id="6" name="Picture 5" descr="IBM 8-bar logo">
            <a:extLst>
              <a:ext uri="{FF2B5EF4-FFF2-40B4-BE49-F238E27FC236}">
                <a16:creationId xmlns:a16="http://schemas.microsoft.com/office/drawing/2014/main" id="{42760241-B758-FC7F-F9B6-B162BF8DDE74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100000" contrast="-100000"/>
          </a:blip>
          <a:stretch>
            <a:fillRect/>
          </a:stretch>
        </p:blipFill>
        <p:spPr>
          <a:xfrm>
            <a:off x="12847442" y="6302447"/>
            <a:ext cx="3345713" cy="1244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992737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E2220E-AAC1-C0DE-2A02-8E9B903B2C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1" y="576072"/>
            <a:ext cx="17991329" cy="1020854"/>
          </a:xfrm>
        </p:spPr>
        <p:txBody>
          <a:bodyPr/>
          <a:lstStyle/>
          <a:p>
            <a:r>
              <a:rPr lang="en-US" sz="6000" dirty="0">
                <a:solidFill>
                  <a:schemeClr val="accent1"/>
                </a:solidFill>
              </a:rPr>
              <a:t>Introducing Your IBM Mentors for Q-Hack '24!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C72CEFDB-1DD0-42E8-83A9-05EA2A414F2F}"/>
              </a:ext>
            </a:extLst>
          </p:cNvPr>
          <p:cNvSpPr txBox="1">
            <a:spLocks/>
          </p:cNvSpPr>
          <p:nvPr/>
        </p:nvSpPr>
        <p:spPr>
          <a:xfrm>
            <a:off x="495716" y="9899044"/>
            <a:ext cx="4912060" cy="12511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>
            <a:lvl1pPr marL="0" marR="0" indent="0" algn="l" defTabSz="2438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600" b="0" i="0" u="none" strike="noStrike" cap="none" spc="0" baseline="0">
                <a:solidFill>
                  <a:schemeClr val="tx2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0" marR="0" indent="362568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0" marR="0" indent="725139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0" marR="0" indent="108770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0" marR="0" indent="145027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marL="0" marR="0" lvl="0" indent="0" algn="ctr" defTabSz="243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IBM Plex Sans Light"/>
                <a:ea typeface="+mj-ea"/>
                <a:cs typeface="+mj-cs"/>
                <a:sym typeface="IBM Plex Sans Light"/>
              </a:rPr>
              <a:t>Anna-Lena Hanschke</a:t>
            </a:r>
            <a:br>
              <a:rPr kumimoji="0" lang="en-US" sz="5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j-ea"/>
                <a:cs typeface="+mj-cs"/>
                <a:sym typeface="IBM Plex Sans Light"/>
              </a:rPr>
            </a:br>
            <a:r>
              <a:rPr lang="en-US" sz="2000" kern="0" dirty="0">
                <a:solidFill>
                  <a:srgbClr val="000000"/>
                </a:solidFill>
                <a:latin typeface="IBM Plex Sans Light"/>
              </a:rPr>
              <a:t>IBM Technology </a:t>
            </a:r>
            <a:br>
              <a:rPr lang="en-US" sz="2000" kern="0" dirty="0">
                <a:solidFill>
                  <a:srgbClr val="000000"/>
                </a:solidFill>
                <a:latin typeface="IBM Plex Sans Light"/>
              </a:rPr>
            </a:br>
            <a:r>
              <a:rPr lang="en-US" sz="2000" kern="0" dirty="0">
                <a:solidFill>
                  <a:srgbClr val="000000"/>
                </a:solidFill>
                <a:latin typeface="IBM Plex Sans Light"/>
              </a:rPr>
              <a:t>Technology Partner Specialist</a:t>
            </a:r>
            <a:b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j-ea"/>
                <a:cs typeface="+mj-cs"/>
                <a:sym typeface="IBM Plex Sans Light"/>
              </a:rPr>
            </a:br>
            <a:br>
              <a:rPr kumimoji="0" lang="en-US" sz="4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j-ea"/>
                <a:cs typeface="+mj-cs"/>
                <a:sym typeface="IBM Plex Sans Light"/>
              </a:rPr>
            </a:br>
            <a:endParaRPr kumimoji="0" lang="en-US" sz="4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j-ea"/>
              <a:cs typeface="+mj-cs"/>
              <a:sym typeface="IBM Plex Sans Light"/>
            </a:endParaRP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32DC0A76-FF5D-D976-D821-295E1D822DD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75997" y="12800826"/>
            <a:ext cx="7152860" cy="380950"/>
          </a:xfrm>
        </p:spPr>
        <p:txBody>
          <a:bodyPr/>
          <a:lstStyle/>
          <a:p>
            <a:r>
              <a:rPr lang="de-DE" sz="1800" dirty="0"/>
              <a:t>IBM @ Q-Hack 24 / © 2024 IBM Corporation</a:t>
            </a:r>
          </a:p>
        </p:txBody>
      </p:sp>
      <p:sp>
        <p:nvSpPr>
          <p:cNvPr id="34" name="Title 2">
            <a:extLst>
              <a:ext uri="{FF2B5EF4-FFF2-40B4-BE49-F238E27FC236}">
                <a16:creationId xmlns:a16="http://schemas.microsoft.com/office/drawing/2014/main" id="{B37F1607-A282-45FE-C751-838AC64C2DC4}"/>
              </a:ext>
            </a:extLst>
          </p:cNvPr>
          <p:cNvSpPr txBox="1">
            <a:spLocks/>
          </p:cNvSpPr>
          <p:nvPr/>
        </p:nvSpPr>
        <p:spPr>
          <a:xfrm>
            <a:off x="17742932" y="9899044"/>
            <a:ext cx="4912060" cy="12511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>
            <a:lvl1pPr marL="0" marR="0" indent="0" algn="l" defTabSz="2438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600" b="0" i="0" u="none" strike="noStrike" cap="none" spc="0" baseline="0">
                <a:solidFill>
                  <a:schemeClr val="tx2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0" marR="0" indent="362568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0" marR="0" indent="725139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0" marR="0" indent="108770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0" marR="0" indent="145027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algn="ctr">
              <a:defRPr/>
            </a:pP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IBM Plex Sans Light"/>
                <a:ea typeface="+mj-ea"/>
                <a:cs typeface="+mj-cs"/>
                <a:sym typeface="IBM Plex Sans Light"/>
              </a:rPr>
              <a:t>Raoul Baron</a:t>
            </a:r>
            <a:br>
              <a:rPr kumimoji="0" lang="en-US" sz="5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j-ea"/>
                <a:cs typeface="+mj-cs"/>
                <a:sym typeface="IBM Plex Sans Light"/>
              </a:rPr>
            </a:br>
            <a:r>
              <a:rPr lang="en-US" sz="2000" kern="0" dirty="0">
                <a:solidFill>
                  <a:srgbClr val="000000"/>
                </a:solidFill>
                <a:latin typeface="IBM Plex Sans Light"/>
              </a:rPr>
              <a:t>IBM Consulting</a:t>
            </a:r>
            <a:br>
              <a:rPr lang="en-US" sz="2000" kern="0" dirty="0">
                <a:solidFill>
                  <a:srgbClr val="000000"/>
                </a:solidFill>
                <a:latin typeface="IBM Plex Sans Light"/>
              </a:rPr>
            </a:br>
            <a:r>
              <a:rPr lang="en-US" sz="2000" kern="0" dirty="0">
                <a:solidFill>
                  <a:srgbClr val="000000"/>
                </a:solidFill>
                <a:latin typeface="IBM Plex Sans Light"/>
              </a:rPr>
              <a:t>Business Transformation</a:t>
            </a:r>
            <a:endParaRPr kumimoji="0" lang="en-US" sz="4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j-ea"/>
              <a:cs typeface="+mj-cs"/>
              <a:sym typeface="IBM Plex Sans Light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1DCE4CD1-38FA-CDEF-B68A-A4ADA5FEB141}"/>
              </a:ext>
            </a:extLst>
          </p:cNvPr>
          <p:cNvGrpSpPr/>
          <p:nvPr/>
        </p:nvGrpSpPr>
        <p:grpSpPr>
          <a:xfrm>
            <a:off x="1197554" y="4517766"/>
            <a:ext cx="22023265" cy="4912060"/>
            <a:chOff x="1197554" y="4517766"/>
            <a:chExt cx="22023265" cy="4912060"/>
          </a:xfrm>
        </p:grpSpPr>
        <p:pic>
          <p:nvPicPr>
            <p:cNvPr id="19" name="Picture 18" descr="A person in a suit with her arms crossed&#10;&#10;Description automatically generated">
              <a:extLst>
                <a:ext uri="{FF2B5EF4-FFF2-40B4-BE49-F238E27FC236}">
                  <a16:creationId xmlns:a16="http://schemas.microsoft.com/office/drawing/2014/main" id="{D56426D7-C37E-1545-0E31-411B86CD29C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16" t="4217" r="16016" b="554"/>
            <a:stretch/>
          </p:blipFill>
          <p:spPr>
            <a:xfrm>
              <a:off x="1197554" y="4517767"/>
              <a:ext cx="4912059" cy="4912059"/>
            </a:xfrm>
            <a:prstGeom prst="parallelogram">
              <a:avLst/>
            </a:prstGeom>
          </p:spPr>
        </p:pic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7358BA94-00C5-45F7-2FDE-540E0AB4337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 l="6638" t="2866" r="-523" b="2866"/>
            <a:stretch/>
          </p:blipFill>
          <p:spPr>
            <a:xfrm>
              <a:off x="9767000" y="4517767"/>
              <a:ext cx="4892274" cy="4912059"/>
            </a:xfrm>
            <a:prstGeom prst="parallelogram">
              <a:avLst/>
            </a:prstGeom>
          </p:spPr>
        </p:pic>
        <p:pic>
          <p:nvPicPr>
            <p:cNvPr id="24" name="Picture 4" descr="Profile photo for Philipp Bohlen">
              <a:extLst>
                <a:ext uri="{FF2B5EF4-FFF2-40B4-BE49-F238E27FC236}">
                  <a16:creationId xmlns:a16="http://schemas.microsoft.com/office/drawing/2014/main" id="{7B821519-9438-8F9A-8AF5-E6E25EB1ABA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027987" y="4517766"/>
              <a:ext cx="4912060" cy="4912060"/>
            </a:xfrm>
            <a:prstGeom prst="parallelogram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Profile photo for Hans Maximilian Hüppelshäuser">
              <a:extLst>
                <a:ext uri="{FF2B5EF4-FFF2-40B4-BE49-F238E27FC236}">
                  <a16:creationId xmlns:a16="http://schemas.microsoft.com/office/drawing/2014/main" id="{BA8A04C9-1815-2E0B-2486-D31624CBBA0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78326" y="4517767"/>
              <a:ext cx="4912059" cy="4912059"/>
            </a:xfrm>
            <a:prstGeom prst="parallelogram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 descr="Profile photo for Raoul Baron">
              <a:extLst>
                <a:ext uri="{FF2B5EF4-FFF2-40B4-BE49-F238E27FC236}">
                  <a16:creationId xmlns:a16="http://schemas.microsoft.com/office/drawing/2014/main" id="{6255DC41-9140-9CC2-3F3B-F4801E1E5F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08759" y="4517766"/>
              <a:ext cx="4912060" cy="4912060"/>
            </a:xfrm>
            <a:prstGeom prst="parallelogram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Parallelogramm 23">
              <a:extLst>
                <a:ext uri="{FF2B5EF4-FFF2-40B4-BE49-F238E27FC236}">
                  <a16:creationId xmlns:a16="http://schemas.microsoft.com/office/drawing/2014/main" id="{3A6B0DDB-6E4D-3A99-8723-2445BDA8B34A}"/>
                </a:ext>
              </a:extLst>
            </p:cNvPr>
            <p:cNvSpPr/>
            <p:nvPr/>
          </p:nvSpPr>
          <p:spPr>
            <a:xfrm>
              <a:off x="18310127" y="6543676"/>
              <a:ext cx="4397874" cy="2886148"/>
            </a:xfrm>
            <a:prstGeom prst="parallelogram">
              <a:avLst/>
            </a:prstGeom>
            <a:gradFill flip="none" rotWithShape="1">
              <a:gsLst>
                <a:gs pos="44000">
                  <a:schemeClr val="bg1">
                    <a:lumMod val="95000"/>
                    <a:alpha val="0"/>
                  </a:schemeClr>
                </a:gs>
                <a:gs pos="100000">
                  <a:schemeClr val="accent2">
                    <a:lumMod val="40000"/>
                    <a:lumOff val="60000"/>
                  </a:schemeClr>
                </a:gs>
              </a:gsLst>
              <a:lin ang="5400000" scaled="0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8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en-US" sz="2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5" name="Title 2">
            <a:extLst>
              <a:ext uri="{FF2B5EF4-FFF2-40B4-BE49-F238E27FC236}">
                <a16:creationId xmlns:a16="http://schemas.microsoft.com/office/drawing/2014/main" id="{0928A71E-B70B-796F-5C1B-9D7486F4474D}"/>
              </a:ext>
            </a:extLst>
          </p:cNvPr>
          <p:cNvSpPr txBox="1">
            <a:spLocks/>
          </p:cNvSpPr>
          <p:nvPr/>
        </p:nvSpPr>
        <p:spPr>
          <a:xfrm>
            <a:off x="13396699" y="9899044"/>
            <a:ext cx="4912060" cy="12511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>
            <a:lvl1pPr marL="0" marR="0" indent="0" algn="l" defTabSz="2438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600" b="0" i="0" u="none" strike="noStrike" cap="none" spc="0" baseline="0">
                <a:solidFill>
                  <a:schemeClr val="tx2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0" marR="0" indent="362568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0" marR="0" indent="725139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0" marR="0" indent="108770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0" marR="0" indent="145027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algn="ctr">
              <a:defRPr/>
            </a:pP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IBM Plex Sans Light"/>
                <a:ea typeface="+mj-ea"/>
                <a:cs typeface="+mj-cs"/>
                <a:sym typeface="IBM Plex Sans Light"/>
              </a:rPr>
              <a:t>Philipp Bohlen</a:t>
            </a:r>
            <a:br>
              <a:rPr kumimoji="0" lang="en-US" sz="5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j-ea"/>
                <a:cs typeface="+mj-cs"/>
                <a:sym typeface="IBM Plex Sans Light"/>
              </a:rPr>
            </a:br>
            <a:r>
              <a:rPr lang="en-US" sz="2000" kern="0" dirty="0">
                <a:solidFill>
                  <a:srgbClr val="000000"/>
                </a:solidFill>
                <a:latin typeface="IBM Plex Sans Light"/>
              </a:rPr>
              <a:t>IBM Consulting</a:t>
            </a:r>
            <a:br>
              <a:rPr lang="en-US" sz="2000" kern="0" dirty="0">
                <a:solidFill>
                  <a:srgbClr val="000000"/>
                </a:solidFill>
                <a:latin typeface="IBM Plex Sans Light"/>
              </a:rPr>
            </a:br>
            <a:r>
              <a:rPr lang="en-US" sz="2000" kern="0" dirty="0">
                <a:solidFill>
                  <a:srgbClr val="000000"/>
                </a:solidFill>
                <a:latin typeface="IBM Plex Sans Light"/>
              </a:rPr>
              <a:t>Business Transformation</a:t>
            </a:r>
            <a:endParaRPr kumimoji="0" lang="en-US" sz="4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j-ea"/>
              <a:cs typeface="+mj-cs"/>
              <a:sym typeface="IBM Plex Sans Light"/>
            </a:endParaRPr>
          </a:p>
        </p:txBody>
      </p:sp>
      <p:sp>
        <p:nvSpPr>
          <p:cNvPr id="38" name="Title 2">
            <a:extLst>
              <a:ext uri="{FF2B5EF4-FFF2-40B4-BE49-F238E27FC236}">
                <a16:creationId xmlns:a16="http://schemas.microsoft.com/office/drawing/2014/main" id="{B06C0C86-5FDC-AF8A-EF61-9413A8EC06CB}"/>
              </a:ext>
            </a:extLst>
          </p:cNvPr>
          <p:cNvSpPr txBox="1">
            <a:spLocks/>
          </p:cNvSpPr>
          <p:nvPr/>
        </p:nvSpPr>
        <p:spPr>
          <a:xfrm>
            <a:off x="9115926" y="9899044"/>
            <a:ext cx="4912060" cy="12511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>
            <a:lvl1pPr marL="0" marR="0" indent="0" algn="l" defTabSz="2438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600" b="0" i="0" u="none" strike="noStrike" cap="none" spc="0" baseline="0">
                <a:solidFill>
                  <a:schemeClr val="tx2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0" marR="0" indent="362568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0" marR="0" indent="725139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0" marR="0" indent="108770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0" marR="0" indent="145027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algn="ctr">
              <a:defRPr/>
            </a:pP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IBM Plex Sans Light"/>
                <a:ea typeface="+mj-ea"/>
                <a:cs typeface="+mj-cs"/>
                <a:sym typeface="IBM Plex Sans Light"/>
              </a:rPr>
              <a:t>Isabell Schmidt</a:t>
            </a:r>
            <a:br>
              <a:rPr kumimoji="0" lang="en-US" sz="5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j-ea"/>
                <a:cs typeface="+mj-cs"/>
                <a:sym typeface="IBM Plex Sans Light"/>
              </a:rPr>
            </a:br>
            <a:r>
              <a:rPr lang="en-US" sz="2000" kern="0" dirty="0">
                <a:solidFill>
                  <a:srgbClr val="000000"/>
                </a:solidFill>
                <a:latin typeface="IBM Plex Sans Light"/>
              </a:rPr>
              <a:t>IBM Consulting</a:t>
            </a:r>
            <a:br>
              <a:rPr lang="en-US" sz="2000" kern="0" dirty="0">
                <a:solidFill>
                  <a:srgbClr val="000000"/>
                </a:solidFill>
                <a:latin typeface="IBM Plex Sans Light"/>
              </a:rPr>
            </a:br>
            <a:r>
              <a:rPr lang="en-US" sz="2000" kern="0" dirty="0">
                <a:solidFill>
                  <a:srgbClr val="000000"/>
                </a:solidFill>
                <a:latin typeface="IBM Plex Sans Light"/>
              </a:rPr>
              <a:t>SAP S/4HANA BW &amp; Analytics</a:t>
            </a:r>
          </a:p>
        </p:txBody>
      </p:sp>
      <p:sp>
        <p:nvSpPr>
          <p:cNvPr id="39" name="Title 2">
            <a:extLst>
              <a:ext uri="{FF2B5EF4-FFF2-40B4-BE49-F238E27FC236}">
                <a16:creationId xmlns:a16="http://schemas.microsoft.com/office/drawing/2014/main" id="{68C89050-DB6F-0CF4-C308-984E65D25334}"/>
              </a:ext>
            </a:extLst>
          </p:cNvPr>
          <p:cNvSpPr txBox="1">
            <a:spLocks/>
          </p:cNvSpPr>
          <p:nvPr/>
        </p:nvSpPr>
        <p:spPr>
          <a:xfrm>
            <a:off x="4871322" y="9899044"/>
            <a:ext cx="4912060" cy="12511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>
            <a:lvl1pPr marL="0" marR="0" indent="0" algn="l" defTabSz="2438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600" b="0" i="0" u="none" strike="noStrike" cap="none" spc="0" baseline="0">
                <a:solidFill>
                  <a:schemeClr val="tx2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0" marR="0" indent="362568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0" marR="0" indent="725139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0" marR="0" indent="108770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0" marR="0" indent="145027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algn="ctr">
              <a:defRPr/>
            </a:pP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IBM Plex Sans Light"/>
                <a:ea typeface="+mj-ea"/>
                <a:cs typeface="+mj-cs"/>
                <a:sym typeface="IBM Plex Sans Light"/>
              </a:rPr>
              <a:t>Hans Hüppelshäuser</a:t>
            </a:r>
            <a:br>
              <a:rPr kumimoji="0" lang="en-US" sz="5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j-ea"/>
                <a:cs typeface="+mj-cs"/>
                <a:sym typeface="IBM Plex Sans Light"/>
              </a:rPr>
            </a:br>
            <a:r>
              <a:rPr lang="en-US" sz="2000" kern="0" dirty="0">
                <a:solidFill>
                  <a:srgbClr val="000000"/>
                </a:solidFill>
                <a:latin typeface="IBM Plex Sans Light"/>
              </a:rPr>
              <a:t>IBM Consulting</a:t>
            </a:r>
            <a:br>
              <a:rPr lang="en-US" sz="2000" kern="0" dirty="0">
                <a:solidFill>
                  <a:srgbClr val="000000"/>
                </a:solidFill>
                <a:latin typeface="IBM Plex Sans Light"/>
              </a:rPr>
            </a:br>
            <a:r>
              <a:rPr lang="en-US" sz="2000" kern="0" dirty="0">
                <a:solidFill>
                  <a:srgbClr val="000000"/>
                </a:solidFill>
                <a:latin typeface="IBM Plex Sans Light"/>
              </a:rPr>
              <a:t>Healthcare Team</a:t>
            </a:r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A698D09E-B6D0-2511-D840-1CD7B315F87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2887050" y="14893"/>
            <a:ext cx="1403653" cy="2244437"/>
          </a:xfrm>
          <a:prstGeom prst="rect">
            <a:avLst/>
          </a:prstGeom>
        </p:spPr>
      </p:pic>
      <p:sp>
        <p:nvSpPr>
          <p:cNvPr id="50" name="Parallelogramm 23">
            <a:extLst>
              <a:ext uri="{FF2B5EF4-FFF2-40B4-BE49-F238E27FC236}">
                <a16:creationId xmlns:a16="http://schemas.microsoft.com/office/drawing/2014/main" id="{24FCA157-55E1-AEFE-3115-04F9A0155F30}"/>
              </a:ext>
            </a:extLst>
          </p:cNvPr>
          <p:cNvSpPr/>
          <p:nvPr/>
        </p:nvSpPr>
        <p:spPr>
          <a:xfrm>
            <a:off x="14023828" y="6543676"/>
            <a:ext cx="4424948" cy="2886148"/>
          </a:xfrm>
          <a:prstGeom prst="parallelogram">
            <a:avLst/>
          </a:prstGeom>
          <a:gradFill flip="none" rotWithShape="1">
            <a:gsLst>
              <a:gs pos="44000">
                <a:schemeClr val="bg1">
                  <a:lumMod val="95000"/>
                  <a:alpha val="0"/>
                </a:schemeClr>
              </a:gs>
              <a:gs pos="100000">
                <a:schemeClr val="accent2">
                  <a:lumMod val="40000"/>
                  <a:lumOff val="60000"/>
                </a:schemeClr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78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Parallelogramm 23">
            <a:extLst>
              <a:ext uri="{FF2B5EF4-FFF2-40B4-BE49-F238E27FC236}">
                <a16:creationId xmlns:a16="http://schemas.microsoft.com/office/drawing/2014/main" id="{837FC8CA-CD6B-7328-DA7E-CCA4A4B60DCE}"/>
              </a:ext>
            </a:extLst>
          </p:cNvPr>
          <p:cNvSpPr/>
          <p:nvPr/>
        </p:nvSpPr>
        <p:spPr>
          <a:xfrm>
            <a:off x="9770130" y="6556928"/>
            <a:ext cx="4397874" cy="2886148"/>
          </a:xfrm>
          <a:prstGeom prst="parallelogram">
            <a:avLst/>
          </a:prstGeom>
          <a:gradFill flip="none" rotWithShape="1">
            <a:gsLst>
              <a:gs pos="44000">
                <a:schemeClr val="bg1">
                  <a:lumMod val="95000"/>
                  <a:alpha val="0"/>
                </a:schemeClr>
              </a:gs>
              <a:gs pos="100000">
                <a:schemeClr val="accent2">
                  <a:lumMod val="40000"/>
                  <a:lumOff val="60000"/>
                </a:schemeClr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78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Parallelogramm 23">
            <a:extLst>
              <a:ext uri="{FF2B5EF4-FFF2-40B4-BE49-F238E27FC236}">
                <a16:creationId xmlns:a16="http://schemas.microsoft.com/office/drawing/2014/main" id="{B86A53C2-ADB8-7AE1-B189-5636379CDB7C}"/>
              </a:ext>
            </a:extLst>
          </p:cNvPr>
          <p:cNvSpPr/>
          <p:nvPr/>
        </p:nvSpPr>
        <p:spPr>
          <a:xfrm>
            <a:off x="5447128" y="6543676"/>
            <a:ext cx="4435945" cy="2886148"/>
          </a:xfrm>
          <a:prstGeom prst="parallelogram">
            <a:avLst/>
          </a:prstGeom>
          <a:gradFill flip="none" rotWithShape="1">
            <a:gsLst>
              <a:gs pos="44000">
                <a:schemeClr val="bg1">
                  <a:lumMod val="95000"/>
                  <a:alpha val="0"/>
                </a:schemeClr>
              </a:gs>
              <a:gs pos="100000">
                <a:schemeClr val="accent2">
                  <a:lumMod val="40000"/>
                  <a:lumOff val="60000"/>
                </a:schemeClr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78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Parallelogramm 23">
            <a:extLst>
              <a:ext uri="{FF2B5EF4-FFF2-40B4-BE49-F238E27FC236}">
                <a16:creationId xmlns:a16="http://schemas.microsoft.com/office/drawing/2014/main" id="{CABA8FC1-BFC3-D99F-4EBC-B77A32786F1E}"/>
              </a:ext>
            </a:extLst>
          </p:cNvPr>
          <p:cNvSpPr/>
          <p:nvPr/>
        </p:nvSpPr>
        <p:spPr>
          <a:xfrm>
            <a:off x="1205456" y="6595296"/>
            <a:ext cx="4397874" cy="2886148"/>
          </a:xfrm>
          <a:prstGeom prst="parallelogram">
            <a:avLst/>
          </a:prstGeom>
          <a:gradFill flip="none" rotWithShape="1">
            <a:gsLst>
              <a:gs pos="44000">
                <a:schemeClr val="bg1">
                  <a:lumMod val="95000"/>
                  <a:alpha val="0"/>
                </a:schemeClr>
              </a:gs>
              <a:gs pos="100000">
                <a:schemeClr val="accent2">
                  <a:lumMod val="40000"/>
                  <a:lumOff val="60000"/>
                </a:schemeClr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78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A4D61544-9BA5-7FFE-D0CC-4962664A9CB9}"/>
              </a:ext>
            </a:extLst>
          </p:cNvPr>
          <p:cNvGrpSpPr/>
          <p:nvPr/>
        </p:nvGrpSpPr>
        <p:grpSpPr>
          <a:xfrm>
            <a:off x="1399145" y="11048235"/>
            <a:ext cx="3129376" cy="418866"/>
            <a:chOff x="1137889" y="11149835"/>
            <a:chExt cx="3129376" cy="418866"/>
          </a:xfrm>
        </p:grpSpPr>
        <p:pic>
          <p:nvPicPr>
            <p:cNvPr id="1026" name="Picture 2" descr="Discord-Logo png, Discord-Symbol transparent png 18930500 PNG">
              <a:extLst>
                <a:ext uri="{FF2B5EF4-FFF2-40B4-BE49-F238E27FC236}">
                  <a16:creationId xmlns:a16="http://schemas.microsoft.com/office/drawing/2014/main" id="{B403E1D0-D422-6DCE-81FE-FCA1075A4D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01" t="26861" r="16636" b="26970"/>
            <a:stretch/>
          </p:blipFill>
          <p:spPr bwMode="auto">
            <a:xfrm>
              <a:off x="1137889" y="11149835"/>
              <a:ext cx="497326" cy="351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Title 2">
              <a:extLst>
                <a:ext uri="{FF2B5EF4-FFF2-40B4-BE49-F238E27FC236}">
                  <a16:creationId xmlns:a16="http://schemas.microsoft.com/office/drawing/2014/main" id="{900C1B05-FE09-744D-7928-6E3031EFEC22}"/>
                </a:ext>
              </a:extLst>
            </p:cNvPr>
            <p:cNvSpPr txBox="1">
              <a:spLocks/>
            </p:cNvSpPr>
            <p:nvPr/>
          </p:nvSpPr>
          <p:spPr>
            <a:xfrm>
              <a:off x="1635217" y="11166160"/>
              <a:ext cx="2632048" cy="40254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0" tIns="0" rIns="0" bIns="0"/>
            <a:lstStyle>
              <a:lvl1pPr marL="0" marR="0" indent="0" algn="l" defTabSz="2438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8600" b="0" i="0" u="none" strike="noStrike" cap="none" spc="0" baseline="0">
                  <a:solidFill>
                    <a:schemeClr val="tx2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1pPr>
              <a:lvl2pPr marL="0" marR="0" indent="0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2pPr>
              <a:lvl3pPr marL="0" marR="0" indent="0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3pPr>
              <a:lvl4pPr marL="0" marR="0" indent="0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4pPr>
              <a:lvl5pPr marL="0" marR="0" indent="0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5pPr>
              <a:lvl6pPr marL="0" marR="0" indent="362568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6pPr>
              <a:lvl7pPr marL="0" marR="0" indent="725139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7pPr>
              <a:lvl8pPr marL="0" marR="0" indent="1087706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8pPr>
              <a:lvl9pPr marL="0" marR="0" indent="1450276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9pPr>
            </a:lstStyle>
            <a:p>
              <a:pPr marL="0" marR="0" lvl="0" indent="0" algn="ctr" defTabSz="2438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i="1" kern="0" dirty="0">
                  <a:solidFill>
                    <a:srgbClr val="000000"/>
                  </a:solidFill>
                  <a:latin typeface="IBM Plex Sans Light"/>
                </a:rPr>
                <a:t>@ annalena00_19088</a:t>
              </a:r>
              <a:endParaRPr kumimoji="0" lang="en-US" sz="4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j-ea"/>
                <a:cs typeface="+mj-cs"/>
                <a:sym typeface="IBM Plex Sans Light"/>
              </a:endParaRP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1D4A36A0-B20E-3BB3-B2B0-0B76D4D4F77A}"/>
              </a:ext>
            </a:extLst>
          </p:cNvPr>
          <p:cNvGrpSpPr/>
          <p:nvPr/>
        </p:nvGrpSpPr>
        <p:grpSpPr>
          <a:xfrm>
            <a:off x="6215499" y="11064560"/>
            <a:ext cx="2213333" cy="418866"/>
            <a:chOff x="1137889" y="11149835"/>
            <a:chExt cx="2213333" cy="418866"/>
          </a:xfrm>
        </p:grpSpPr>
        <p:pic>
          <p:nvPicPr>
            <p:cNvPr id="12" name="Picture 2" descr="Discord-Logo png, Discord-Symbol transparent png 18930500 PNG">
              <a:extLst>
                <a:ext uri="{FF2B5EF4-FFF2-40B4-BE49-F238E27FC236}">
                  <a16:creationId xmlns:a16="http://schemas.microsoft.com/office/drawing/2014/main" id="{03C8FEAB-D546-CEF9-B850-31001541770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01" t="26861" r="16636" b="26970"/>
            <a:stretch/>
          </p:blipFill>
          <p:spPr bwMode="auto">
            <a:xfrm>
              <a:off x="1137889" y="11149835"/>
              <a:ext cx="497326" cy="351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itle 2">
              <a:extLst>
                <a:ext uri="{FF2B5EF4-FFF2-40B4-BE49-F238E27FC236}">
                  <a16:creationId xmlns:a16="http://schemas.microsoft.com/office/drawing/2014/main" id="{EC42D3A4-2679-A88A-8BAE-365C738434D8}"/>
                </a:ext>
              </a:extLst>
            </p:cNvPr>
            <p:cNvSpPr txBox="1">
              <a:spLocks/>
            </p:cNvSpPr>
            <p:nvPr/>
          </p:nvSpPr>
          <p:spPr>
            <a:xfrm>
              <a:off x="1635217" y="11166160"/>
              <a:ext cx="1716005" cy="40254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0" tIns="0" rIns="0" bIns="0"/>
            <a:lstStyle>
              <a:lvl1pPr marL="0" marR="0" indent="0" algn="l" defTabSz="2438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8600" b="0" i="0" u="none" strike="noStrike" cap="none" spc="0" baseline="0">
                  <a:solidFill>
                    <a:schemeClr val="tx2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1pPr>
              <a:lvl2pPr marL="0" marR="0" indent="0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2pPr>
              <a:lvl3pPr marL="0" marR="0" indent="0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3pPr>
              <a:lvl4pPr marL="0" marR="0" indent="0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4pPr>
              <a:lvl5pPr marL="0" marR="0" indent="0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5pPr>
              <a:lvl6pPr marL="0" marR="0" indent="362568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6pPr>
              <a:lvl7pPr marL="0" marR="0" indent="725139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7pPr>
              <a:lvl8pPr marL="0" marR="0" indent="1087706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8pPr>
              <a:lvl9pPr marL="0" marR="0" indent="1450276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9pPr>
            </a:lstStyle>
            <a:p>
              <a:pPr marL="0" marR="0" lvl="0" indent="0" algn="ctr" defTabSz="2438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i="1" kern="0" dirty="0">
                  <a:solidFill>
                    <a:srgbClr val="000000"/>
                  </a:solidFill>
                  <a:latin typeface="IBM Plex Sans Light"/>
                </a:rPr>
                <a:t>@ </a:t>
              </a:r>
              <a:r>
                <a:rPr lang="en-US" sz="2000" i="1" kern="0" dirty="0" err="1">
                  <a:solidFill>
                    <a:srgbClr val="000000"/>
                  </a:solidFill>
                  <a:latin typeface="IBM Plex Sans Light"/>
                </a:rPr>
                <a:t>hans_huepp</a:t>
              </a:r>
              <a:endParaRPr kumimoji="0" lang="en-US" sz="4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j-ea"/>
                <a:cs typeface="+mj-cs"/>
                <a:sym typeface="IBM Plex Sans Light"/>
              </a:endParaRPr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4214EF4A-5D27-83DF-3B77-6E91893C2982}"/>
              </a:ext>
            </a:extLst>
          </p:cNvPr>
          <p:cNvGrpSpPr/>
          <p:nvPr/>
        </p:nvGrpSpPr>
        <p:grpSpPr>
          <a:xfrm>
            <a:off x="10276604" y="11080885"/>
            <a:ext cx="2589230" cy="418866"/>
            <a:chOff x="1137889" y="11149835"/>
            <a:chExt cx="2589230" cy="418866"/>
          </a:xfrm>
        </p:grpSpPr>
        <p:pic>
          <p:nvPicPr>
            <p:cNvPr id="15" name="Picture 2" descr="Discord-Logo png, Discord-Symbol transparent png 18930500 PNG">
              <a:extLst>
                <a:ext uri="{FF2B5EF4-FFF2-40B4-BE49-F238E27FC236}">
                  <a16:creationId xmlns:a16="http://schemas.microsoft.com/office/drawing/2014/main" id="{6FE0C094-B632-8681-72AE-45FA6C5EC36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01" t="26861" r="16636" b="26970"/>
            <a:stretch/>
          </p:blipFill>
          <p:spPr bwMode="auto">
            <a:xfrm>
              <a:off x="1137889" y="11149835"/>
              <a:ext cx="497326" cy="351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itle 2">
              <a:extLst>
                <a:ext uri="{FF2B5EF4-FFF2-40B4-BE49-F238E27FC236}">
                  <a16:creationId xmlns:a16="http://schemas.microsoft.com/office/drawing/2014/main" id="{51C0D060-1AD0-B806-0210-D3B831A45FD6}"/>
                </a:ext>
              </a:extLst>
            </p:cNvPr>
            <p:cNvSpPr txBox="1">
              <a:spLocks/>
            </p:cNvSpPr>
            <p:nvPr/>
          </p:nvSpPr>
          <p:spPr>
            <a:xfrm>
              <a:off x="1635217" y="11166160"/>
              <a:ext cx="2091902" cy="40254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0" tIns="0" rIns="0" bIns="0"/>
            <a:lstStyle>
              <a:lvl1pPr marL="0" marR="0" indent="0" algn="l" defTabSz="2438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8600" b="0" i="0" u="none" strike="noStrike" cap="none" spc="0" baseline="0">
                  <a:solidFill>
                    <a:schemeClr val="tx2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1pPr>
              <a:lvl2pPr marL="0" marR="0" indent="0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2pPr>
              <a:lvl3pPr marL="0" marR="0" indent="0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3pPr>
              <a:lvl4pPr marL="0" marR="0" indent="0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4pPr>
              <a:lvl5pPr marL="0" marR="0" indent="0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5pPr>
              <a:lvl6pPr marL="0" marR="0" indent="362568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6pPr>
              <a:lvl7pPr marL="0" marR="0" indent="725139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7pPr>
              <a:lvl8pPr marL="0" marR="0" indent="1087706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8pPr>
              <a:lvl9pPr marL="0" marR="0" indent="1450276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9pPr>
            </a:lstStyle>
            <a:p>
              <a:pPr marL="0" marR="0" lvl="0" indent="0" algn="ctr" defTabSz="2438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i="1" kern="0" dirty="0">
                  <a:solidFill>
                    <a:srgbClr val="000000"/>
                  </a:solidFill>
                  <a:latin typeface="IBM Plex Sans Light"/>
                </a:rPr>
                <a:t>@ </a:t>
              </a:r>
              <a:r>
                <a:rPr lang="en-US" sz="2000" i="1" kern="0" dirty="0" err="1">
                  <a:solidFill>
                    <a:srgbClr val="000000"/>
                  </a:solidFill>
                  <a:latin typeface="IBM Plex Sans Light"/>
                </a:rPr>
                <a:t>isabell_schmidt</a:t>
              </a:r>
              <a:endParaRPr kumimoji="0" lang="en-US" sz="4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j-ea"/>
                <a:cs typeface="+mj-cs"/>
                <a:sym typeface="IBM Plex Sans Light"/>
              </a:endParaRP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79D4F7C5-B691-6B9C-2403-98E90FA1AFB7}"/>
              </a:ext>
            </a:extLst>
          </p:cNvPr>
          <p:cNvGrpSpPr/>
          <p:nvPr/>
        </p:nvGrpSpPr>
        <p:grpSpPr>
          <a:xfrm>
            <a:off x="14760873" y="11144700"/>
            <a:ext cx="2192916" cy="418866"/>
            <a:chOff x="1137889" y="11149835"/>
            <a:chExt cx="2192916" cy="418866"/>
          </a:xfrm>
        </p:grpSpPr>
        <p:pic>
          <p:nvPicPr>
            <p:cNvPr id="18" name="Picture 2" descr="Discord-Logo png, Discord-Symbol transparent png 18930500 PNG">
              <a:extLst>
                <a:ext uri="{FF2B5EF4-FFF2-40B4-BE49-F238E27FC236}">
                  <a16:creationId xmlns:a16="http://schemas.microsoft.com/office/drawing/2014/main" id="{C471E4BE-12A7-310D-2547-755005F253B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01" t="26861" r="16636" b="26970"/>
            <a:stretch/>
          </p:blipFill>
          <p:spPr bwMode="auto">
            <a:xfrm>
              <a:off x="1137889" y="11149835"/>
              <a:ext cx="497326" cy="351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Title 2">
              <a:extLst>
                <a:ext uri="{FF2B5EF4-FFF2-40B4-BE49-F238E27FC236}">
                  <a16:creationId xmlns:a16="http://schemas.microsoft.com/office/drawing/2014/main" id="{7031BF47-EEFA-09CE-153F-53338F224AB7}"/>
                </a:ext>
              </a:extLst>
            </p:cNvPr>
            <p:cNvSpPr txBox="1">
              <a:spLocks/>
            </p:cNvSpPr>
            <p:nvPr/>
          </p:nvSpPr>
          <p:spPr>
            <a:xfrm>
              <a:off x="1635217" y="11166160"/>
              <a:ext cx="1695588" cy="40254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0" tIns="0" rIns="0" bIns="0"/>
            <a:lstStyle>
              <a:lvl1pPr marL="0" marR="0" indent="0" algn="l" defTabSz="2438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8600" b="0" i="0" u="none" strike="noStrike" cap="none" spc="0" baseline="0">
                  <a:solidFill>
                    <a:schemeClr val="tx2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1pPr>
              <a:lvl2pPr marL="0" marR="0" indent="0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2pPr>
              <a:lvl3pPr marL="0" marR="0" indent="0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3pPr>
              <a:lvl4pPr marL="0" marR="0" indent="0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4pPr>
              <a:lvl5pPr marL="0" marR="0" indent="0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5pPr>
              <a:lvl6pPr marL="0" marR="0" indent="362568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6pPr>
              <a:lvl7pPr marL="0" marR="0" indent="725139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7pPr>
              <a:lvl8pPr marL="0" marR="0" indent="1087706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8pPr>
              <a:lvl9pPr marL="0" marR="0" indent="1450276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9pPr>
            </a:lstStyle>
            <a:p>
              <a:pPr marL="0" marR="0" lvl="0" indent="0" algn="ctr" defTabSz="2438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i="1" kern="0" dirty="0">
                  <a:solidFill>
                    <a:srgbClr val="000000"/>
                  </a:solidFill>
                  <a:latin typeface="IBM Plex Sans Light"/>
                </a:rPr>
                <a:t>@ </a:t>
              </a:r>
              <a:r>
                <a:rPr lang="en-US" sz="2000" i="1" kern="0" dirty="0" err="1">
                  <a:solidFill>
                    <a:srgbClr val="000000"/>
                  </a:solidFill>
                  <a:latin typeface="IBM Plex Sans Light"/>
                </a:rPr>
                <a:t>philipp_ibm</a:t>
              </a:r>
              <a:endParaRPr kumimoji="0" lang="en-US" sz="4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j-ea"/>
                <a:cs typeface="+mj-cs"/>
                <a:sym typeface="IBM Plex Sans Light"/>
              </a:endParaRP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5EB10243-ADAB-F1EF-9A6C-02BB6EBF3325}"/>
              </a:ext>
            </a:extLst>
          </p:cNvPr>
          <p:cNvGrpSpPr/>
          <p:nvPr/>
        </p:nvGrpSpPr>
        <p:grpSpPr>
          <a:xfrm>
            <a:off x="19102504" y="11144701"/>
            <a:ext cx="2192916" cy="418866"/>
            <a:chOff x="1137889" y="11149835"/>
            <a:chExt cx="2192916" cy="418866"/>
          </a:xfrm>
        </p:grpSpPr>
        <p:pic>
          <p:nvPicPr>
            <p:cNvPr id="23" name="Picture 2" descr="Discord-Logo png, Discord-Symbol transparent png 18930500 PNG">
              <a:extLst>
                <a:ext uri="{FF2B5EF4-FFF2-40B4-BE49-F238E27FC236}">
                  <a16:creationId xmlns:a16="http://schemas.microsoft.com/office/drawing/2014/main" id="{F1DDF0C7-8BF3-3B78-10C5-98FF9A32F85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01" t="26861" r="16636" b="26970"/>
            <a:stretch/>
          </p:blipFill>
          <p:spPr bwMode="auto">
            <a:xfrm>
              <a:off x="1137889" y="11149835"/>
              <a:ext cx="497326" cy="351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Title 2">
              <a:extLst>
                <a:ext uri="{FF2B5EF4-FFF2-40B4-BE49-F238E27FC236}">
                  <a16:creationId xmlns:a16="http://schemas.microsoft.com/office/drawing/2014/main" id="{24B9A8BC-F49A-3F92-372A-72C229401CDD}"/>
                </a:ext>
              </a:extLst>
            </p:cNvPr>
            <p:cNvSpPr txBox="1">
              <a:spLocks/>
            </p:cNvSpPr>
            <p:nvPr/>
          </p:nvSpPr>
          <p:spPr>
            <a:xfrm>
              <a:off x="1635217" y="11166160"/>
              <a:ext cx="1695588" cy="40254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0" tIns="0" rIns="0" bIns="0"/>
            <a:lstStyle>
              <a:lvl1pPr marL="0" marR="0" indent="0" algn="l" defTabSz="2438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8600" b="0" i="0" u="none" strike="noStrike" cap="none" spc="0" baseline="0">
                  <a:solidFill>
                    <a:schemeClr val="tx2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1pPr>
              <a:lvl2pPr marL="0" marR="0" indent="0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2pPr>
              <a:lvl3pPr marL="0" marR="0" indent="0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3pPr>
              <a:lvl4pPr marL="0" marR="0" indent="0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4pPr>
              <a:lvl5pPr marL="0" marR="0" indent="0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5pPr>
              <a:lvl6pPr marL="0" marR="0" indent="362568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6pPr>
              <a:lvl7pPr marL="0" marR="0" indent="725139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7pPr>
              <a:lvl8pPr marL="0" marR="0" indent="1087706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8pPr>
              <a:lvl9pPr marL="0" marR="0" indent="1450276" algn="l" defTabSz="2438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IBM Plex Sans Light"/>
                </a:defRPr>
              </a:lvl9pPr>
            </a:lstStyle>
            <a:p>
              <a:pPr marL="0" marR="0" lvl="0" indent="0" algn="ctr" defTabSz="2438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i="1" kern="0" dirty="0">
                  <a:solidFill>
                    <a:srgbClr val="000000"/>
                  </a:solidFill>
                  <a:latin typeface="IBM Plex Sans Light"/>
                </a:rPr>
                <a:t>@ </a:t>
              </a:r>
              <a:r>
                <a:rPr lang="en-US" sz="2000" i="1" kern="0" dirty="0" err="1">
                  <a:solidFill>
                    <a:srgbClr val="000000"/>
                  </a:solidFill>
                  <a:latin typeface="IBM Plex Sans Light"/>
                </a:rPr>
                <a:t>raoul_baron</a:t>
              </a:r>
              <a:endParaRPr kumimoji="0" lang="en-US" sz="4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j-ea"/>
                <a:cs typeface="+mj-cs"/>
                <a:sym typeface="IBM Plex Sans Light"/>
              </a:endParaRPr>
            </a:p>
          </p:txBody>
        </p:sp>
      </p:grpSp>
      <p:sp>
        <p:nvSpPr>
          <p:cNvPr id="26" name="Slide Number Placeholder 9">
            <a:extLst>
              <a:ext uri="{FF2B5EF4-FFF2-40B4-BE49-F238E27FC236}">
                <a16:creationId xmlns:a16="http://schemas.microsoft.com/office/drawing/2014/main" id="{F4D9A63F-BC22-24C1-9C03-99568D60645D}"/>
              </a:ext>
            </a:extLst>
          </p:cNvPr>
          <p:cNvSpPr txBox="1">
            <a:spLocks/>
          </p:cNvSpPr>
          <p:nvPr/>
        </p:nvSpPr>
        <p:spPr>
          <a:xfrm>
            <a:off x="23421475" y="12889286"/>
            <a:ext cx="438276" cy="31644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9196"/>
            <a:fld id="{86CB4B4D-7CA3-9044-876B-883B54F8677D}" type="slidenum">
              <a:rPr lang="en-US" sz="1600">
                <a:solidFill>
                  <a:srgbClr val="000000"/>
                </a:solidFill>
                <a:latin typeface="IBM Plex Sans" panose="020B0503050203000203" pitchFamily="34" charset="0"/>
              </a:rPr>
              <a:pPr defTabSz="1829196"/>
              <a:t>2</a:t>
            </a:fld>
            <a:endParaRPr lang="en-US" sz="1600" dirty="0">
              <a:solidFill>
                <a:srgbClr val="000000"/>
              </a:solidFill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9199098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/>
          </p:nvPr>
        </p:nvSpPr>
        <p:spPr>
          <a:xfrm>
            <a:off x="385949" y="364892"/>
            <a:ext cx="16125502" cy="5871702"/>
          </a:xfrm>
          <a:noFill/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6600" dirty="0">
                <a:solidFill>
                  <a:schemeClr val="tx1"/>
                </a:solidFill>
                <a:latin typeface="IBM Plex Sans Light" panose="020B0403050203000203" pitchFamily="34" charset="0"/>
              </a:rPr>
              <a:t>Today, </a:t>
            </a:r>
            <a:r>
              <a:rPr lang="en-US" sz="6600" dirty="0">
                <a:solidFill>
                  <a:schemeClr val="tx1"/>
                </a:solidFill>
                <a:latin typeface="IBM Plex Sans Light" panose="020B0403050203000203" pitchFamily="34" charset="0"/>
                <a:ea typeface="Arial" charset="0"/>
                <a:cs typeface="Arial" charset="0"/>
              </a:rPr>
              <a:t>IBM is the only company bringing together</a:t>
            </a:r>
            <a:r>
              <a:rPr lang="en-US" sz="6600" dirty="0">
                <a:solidFill>
                  <a:schemeClr val="tx1"/>
                </a:solidFill>
                <a:latin typeface="IBM Plex Sans Light" panose="020B0403050203000203" pitchFamily="34" charset="0"/>
              </a:rPr>
              <a:t> </a:t>
            </a:r>
            <a:r>
              <a:rPr lang="en-US" sz="6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IBM Plex Sans Light" panose="020B0403050203000203" pitchFamily="34" charset="0"/>
              </a:rPr>
              <a:t>innovative technology</a:t>
            </a:r>
            <a:r>
              <a:rPr lang="en-US" sz="6600" dirty="0">
                <a:solidFill>
                  <a:schemeClr val="tx1"/>
                </a:solidFill>
                <a:latin typeface="IBM Plex Sans Light" panose="020B0403050203000203" pitchFamily="34" charset="0"/>
              </a:rPr>
              <a:t> and </a:t>
            </a:r>
            <a:r>
              <a:rPr lang="en-US" sz="66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IBM Plex Sans Light" panose="020B0403050203000203" pitchFamily="34" charset="0"/>
              </a:rPr>
              <a:t>consulting services</a:t>
            </a:r>
            <a:r>
              <a:rPr lang="en-US" sz="6600" dirty="0">
                <a:solidFill>
                  <a:schemeClr val="tx1"/>
                </a:solidFill>
                <a:latin typeface="IBM Plex Sans Light" panose="020B0403050203000203" pitchFamily="34" charset="0"/>
              </a:rPr>
              <a:t>, backed by </a:t>
            </a:r>
            <a:br>
              <a:rPr lang="en-US" sz="6600" dirty="0">
                <a:solidFill>
                  <a:schemeClr val="tx1"/>
                </a:solidFill>
                <a:latin typeface="IBM Plex Sans Light" panose="020B0403050203000203" pitchFamily="34" charset="0"/>
              </a:rPr>
            </a:br>
            <a:r>
              <a:rPr lang="en-US" sz="6600" dirty="0">
                <a:solidFill>
                  <a:schemeClr val="tx1"/>
                </a:solidFill>
                <a:latin typeface="IBM Plex Sans Light" panose="020B0403050203000203" pitchFamily="34" charset="0"/>
              </a:rPr>
              <a:t>strong</a:t>
            </a:r>
            <a:r>
              <a:rPr lang="en-US" sz="6600" dirty="0">
                <a:solidFill>
                  <a:schemeClr val="accent2">
                    <a:lumMod val="60000"/>
                    <a:lumOff val="40000"/>
                  </a:schemeClr>
                </a:solidFill>
                <a:latin typeface="IBM Plex Sans Light" panose="020B0403050203000203" pitchFamily="34" charset="0"/>
              </a:rPr>
              <a:t> research expertise </a:t>
            </a:r>
            <a:r>
              <a:rPr lang="en-US" sz="6600" dirty="0">
                <a:solidFill>
                  <a:schemeClr val="tx1"/>
                </a:solidFill>
                <a:latin typeface="IBM Plex Sans Light" panose="020B0403050203000203" pitchFamily="34" charset="0"/>
              </a:rPr>
              <a:t>in</a:t>
            </a:r>
            <a:br>
              <a:rPr lang="en-US" sz="6600" dirty="0">
                <a:solidFill>
                  <a:schemeClr val="tx1"/>
                </a:solidFill>
                <a:latin typeface="IBM Plex Sans Light" panose="020B0403050203000203" pitchFamily="34" charset="0"/>
              </a:rPr>
            </a:br>
            <a:r>
              <a:rPr lang="en-US" sz="6600" dirty="0">
                <a:solidFill>
                  <a:schemeClr val="tx1"/>
                </a:solidFill>
                <a:latin typeface="IBM Plex Sans Light" panose="020B0403050203000203" pitchFamily="34" charset="0"/>
              </a:rPr>
              <a:t>our strategic technologies,</a:t>
            </a:r>
            <a:br>
              <a:rPr lang="en-US" sz="6600" dirty="0">
                <a:solidFill>
                  <a:schemeClr val="tx1"/>
                </a:solidFill>
                <a:latin typeface="IBM Plex Sans Light" panose="020B0403050203000203" pitchFamily="34" charset="0"/>
              </a:rPr>
            </a:br>
            <a:endParaRPr lang="en-US" sz="3200" dirty="0">
              <a:solidFill>
                <a:schemeClr val="tx1"/>
              </a:solidFill>
              <a:latin typeface="IBM Plex Sans ExtLt" panose="020B0303050203000203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B892743-6C4B-76A0-D435-5902F7AB86D7}"/>
              </a:ext>
            </a:extLst>
          </p:cNvPr>
          <p:cNvSpPr txBox="1">
            <a:spLocks/>
          </p:cNvSpPr>
          <p:nvPr/>
        </p:nvSpPr>
        <p:spPr>
          <a:xfrm>
            <a:off x="575997" y="12800826"/>
            <a:ext cx="7152860" cy="3809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IBM @ Q-Hack 24 / © 2024 IBM Corporation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5865CD98-5A9E-A75B-CD26-54FA95056D42}"/>
              </a:ext>
            </a:extLst>
          </p:cNvPr>
          <p:cNvGrpSpPr/>
          <p:nvPr/>
        </p:nvGrpSpPr>
        <p:grpSpPr>
          <a:xfrm>
            <a:off x="14961289" y="3669862"/>
            <a:ext cx="7457054" cy="8234573"/>
            <a:chOff x="2838114" y="4392144"/>
            <a:chExt cx="7457054" cy="8234573"/>
          </a:xfrm>
          <a:effectLst>
            <a:outerShdw blurRad="76200" dist="50800" dir="5400000" algn="ctr" rotWithShape="0">
              <a:srgbClr val="000000">
                <a:alpha val="44000"/>
              </a:srgbClr>
            </a:outerShdw>
          </a:effectLst>
        </p:grpSpPr>
        <p:grpSp>
          <p:nvGrpSpPr>
            <p:cNvPr id="15" name="Group 49">
              <a:extLst>
                <a:ext uri="{FF2B5EF4-FFF2-40B4-BE49-F238E27FC236}">
                  <a16:creationId xmlns:a16="http://schemas.microsoft.com/office/drawing/2014/main" id="{53585887-34D3-CBD6-D0A1-750A33E18DB1}"/>
                </a:ext>
              </a:extLst>
            </p:cNvPr>
            <p:cNvGrpSpPr/>
            <p:nvPr/>
          </p:nvGrpSpPr>
          <p:grpSpPr>
            <a:xfrm>
              <a:off x="2838114" y="4392144"/>
              <a:ext cx="7457054" cy="8234573"/>
              <a:chOff x="954314" y="2057400"/>
              <a:chExt cx="4937759" cy="5452600"/>
            </a:xfrm>
          </p:grpSpPr>
          <p:sp>
            <p:nvSpPr>
              <p:cNvPr id="16" name="Freeform 50">
                <a:extLst>
                  <a:ext uri="{FF2B5EF4-FFF2-40B4-BE49-F238E27FC236}">
                    <a16:creationId xmlns:a16="http://schemas.microsoft.com/office/drawing/2014/main" id="{A48ED4F5-FE8F-0038-71B5-07A1B83DBF5A}"/>
                  </a:ext>
                </a:extLst>
              </p:cNvPr>
              <p:cNvSpPr>
                <a:spLocks/>
              </p:cNvSpPr>
              <p:nvPr/>
            </p:nvSpPr>
            <p:spPr>
              <a:xfrm rot="9600000" flipV="1">
                <a:off x="954314" y="2485056"/>
                <a:ext cx="3761711" cy="5024944"/>
              </a:xfrm>
              <a:custGeom>
                <a:avLst/>
                <a:gdLst>
                  <a:gd name="connsiteX0" fmla="*/ 2 w 3217276"/>
                  <a:gd name="connsiteY0" fmla="*/ 1076001 h 4297681"/>
                  <a:gd name="connsiteX1" fmla="*/ 145001 w 3217276"/>
                  <a:gd name="connsiteY1" fmla="*/ 1613454 h 4297681"/>
                  <a:gd name="connsiteX2" fmla="*/ 935100 w 3217276"/>
                  <a:gd name="connsiteY2" fmla="*/ 2139788 h 4297681"/>
                  <a:gd name="connsiteX3" fmla="*/ 1065277 w 3217276"/>
                  <a:gd name="connsiteY3" fmla="*/ 2148054 h 4297681"/>
                  <a:gd name="connsiteX4" fmla="*/ 1065276 w 3217276"/>
                  <a:gd name="connsiteY4" fmla="*/ 2148935 h 4297681"/>
                  <a:gd name="connsiteX5" fmla="*/ 1206319 w 3217276"/>
                  <a:gd name="connsiteY5" fmla="*/ 2158308 h 4297681"/>
                  <a:gd name="connsiteX6" fmla="*/ 1994866 w 3217276"/>
                  <a:gd name="connsiteY6" fmla="*/ 2686964 h 4297681"/>
                  <a:gd name="connsiteX7" fmla="*/ 1993284 w 3217276"/>
                  <a:gd name="connsiteY7" fmla="*/ 3762295 h 4297681"/>
                  <a:gd name="connsiteX8" fmla="*/ 1203185 w 3217276"/>
                  <a:gd name="connsiteY8" fmla="*/ 4288629 h 4297681"/>
                  <a:gd name="connsiteX9" fmla="*/ 1062115 w 3217276"/>
                  <a:gd name="connsiteY9" fmla="*/ 4297587 h 4297681"/>
                  <a:gd name="connsiteX10" fmla="*/ 1062115 w 3217276"/>
                  <a:gd name="connsiteY10" fmla="*/ 4297672 h 4297681"/>
                  <a:gd name="connsiteX11" fmla="*/ 2927276 w 3217276"/>
                  <a:gd name="connsiteY11" fmla="*/ 3226909 h 4297681"/>
                  <a:gd name="connsiteX12" fmla="*/ 2930440 w 3217276"/>
                  <a:gd name="connsiteY12" fmla="*/ 1076246 h 4297681"/>
                  <a:gd name="connsiteX13" fmla="*/ 1353344 w 3217276"/>
                  <a:gd name="connsiteY13" fmla="*/ 18935 h 4297681"/>
                  <a:gd name="connsiteX14" fmla="*/ 1074421 w 3217276"/>
                  <a:gd name="connsiteY14" fmla="*/ 399 h 4297681"/>
                  <a:gd name="connsiteX15" fmla="*/ 1074420 w 3217276"/>
                  <a:gd name="connsiteY15" fmla="*/ 0 h 4297681"/>
                  <a:gd name="connsiteX16" fmla="*/ 1071417 w 3217276"/>
                  <a:gd name="connsiteY16" fmla="*/ 200 h 4297681"/>
                  <a:gd name="connsiteX17" fmla="*/ 1068437 w 3217276"/>
                  <a:gd name="connsiteY17" fmla="*/ 2 h 4297681"/>
                  <a:gd name="connsiteX18" fmla="*/ 1068436 w 3217276"/>
                  <a:gd name="connsiteY18" fmla="*/ 398 h 4297681"/>
                  <a:gd name="connsiteX19" fmla="*/ 931967 w 3217276"/>
                  <a:gd name="connsiteY19" fmla="*/ 9467 h 4297681"/>
                  <a:gd name="connsiteX20" fmla="*/ 143419 w 3217276"/>
                  <a:gd name="connsiteY20" fmla="*/ 538123 h 4297681"/>
                  <a:gd name="connsiteX21" fmla="*/ 2 w 3217276"/>
                  <a:gd name="connsiteY21" fmla="*/ 1076001 h 4297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217276" h="4297681">
                    <a:moveTo>
                      <a:pt x="2" y="1076001"/>
                    </a:moveTo>
                    <a:cubicBezTo>
                      <a:pt x="275" y="1261669"/>
                      <a:pt x="48618" y="1447267"/>
                      <a:pt x="145001" y="1613454"/>
                    </a:cubicBezTo>
                    <a:cubicBezTo>
                      <a:pt x="313672" y="1904282"/>
                      <a:pt x="607001" y="2096927"/>
                      <a:pt x="935100" y="2139788"/>
                    </a:cubicBezTo>
                    <a:lnTo>
                      <a:pt x="1065277" y="2148054"/>
                    </a:lnTo>
                    <a:lnTo>
                      <a:pt x="1065276" y="2148935"/>
                    </a:lnTo>
                    <a:lnTo>
                      <a:pt x="1206319" y="2158308"/>
                    </a:lnTo>
                    <a:cubicBezTo>
                      <a:pt x="1534290" y="2202133"/>
                      <a:pt x="1827052" y="2395641"/>
                      <a:pt x="1994866" y="2686964"/>
                    </a:cubicBezTo>
                    <a:cubicBezTo>
                      <a:pt x="2186654" y="3019905"/>
                      <a:pt x="2186051" y="3429920"/>
                      <a:pt x="1993284" y="3762295"/>
                    </a:cubicBezTo>
                    <a:cubicBezTo>
                      <a:pt x="1824613" y="4053123"/>
                      <a:pt x="1531284" y="4245769"/>
                      <a:pt x="1203185" y="4288629"/>
                    </a:cubicBezTo>
                    <a:lnTo>
                      <a:pt x="1062115" y="4297587"/>
                    </a:lnTo>
                    <a:lnTo>
                      <a:pt x="1062115" y="4297672"/>
                    </a:lnTo>
                    <a:cubicBezTo>
                      <a:pt x="1830571" y="4299933"/>
                      <a:pt x="2541742" y="3891660"/>
                      <a:pt x="2927276" y="3226909"/>
                    </a:cubicBezTo>
                    <a:cubicBezTo>
                      <a:pt x="3312810" y="2562158"/>
                      <a:pt x="3314017" y="1742128"/>
                      <a:pt x="2930440" y="1076246"/>
                    </a:cubicBezTo>
                    <a:cubicBezTo>
                      <a:pt x="2594810" y="493600"/>
                      <a:pt x="2009288" y="106585"/>
                      <a:pt x="1353344" y="18935"/>
                    </a:cubicBezTo>
                    <a:lnTo>
                      <a:pt x="1074421" y="399"/>
                    </a:lnTo>
                    <a:lnTo>
                      <a:pt x="1074420" y="0"/>
                    </a:lnTo>
                    <a:lnTo>
                      <a:pt x="1071417" y="200"/>
                    </a:lnTo>
                    <a:lnTo>
                      <a:pt x="1068437" y="2"/>
                    </a:lnTo>
                    <a:lnTo>
                      <a:pt x="1068436" y="398"/>
                    </a:lnTo>
                    <a:lnTo>
                      <a:pt x="931967" y="9467"/>
                    </a:lnTo>
                    <a:cubicBezTo>
                      <a:pt x="603995" y="53292"/>
                      <a:pt x="311234" y="246800"/>
                      <a:pt x="143419" y="538123"/>
                    </a:cubicBezTo>
                    <a:cubicBezTo>
                      <a:pt x="47525" y="704594"/>
                      <a:pt x="-271" y="890333"/>
                      <a:pt x="2" y="1076001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accent6">
                      <a:lumMod val="60000"/>
                      <a:lumOff val="40000"/>
                    </a:schemeClr>
                  </a:gs>
                  <a:gs pos="0">
                    <a:schemeClr val="accent6">
                      <a:lumMod val="20000"/>
                      <a:lumOff val="80000"/>
                    </a:schemeClr>
                  </a:gs>
                </a:gsLst>
                <a:lin ang="5400000" scaled="1"/>
              </a:gradFill>
              <a:ln w="25400" cap="flat" cmpd="sng" algn="ctr">
                <a:noFill/>
                <a:prstDash val="solid"/>
                <a:miter lim="800000"/>
              </a:ln>
              <a:effectLst>
                <a:outerShdw blurRad="50800" dist="50800" dir="5400000" algn="ctr" rotWithShape="0">
                  <a:srgbClr val="000000">
                    <a:alpha val="38000"/>
                  </a:srgbClr>
                </a:outerShdw>
              </a:effectLst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6">
                      <a:lumMod val="20000"/>
                      <a:lumOff val="80000"/>
                    </a:schemeClr>
                  </a:solidFill>
                  <a:effectLst/>
                  <a:uLnTx/>
                  <a:uFillTx/>
                  <a:latin typeface="IBM Plex Sans" panose="020B0503050203000203" pitchFamily="34" charset="0"/>
                  <a:ea typeface="+mn-ea"/>
                  <a:cs typeface="Arial"/>
                </a:endParaRPr>
              </a:p>
            </p:txBody>
          </p:sp>
          <p:sp>
            <p:nvSpPr>
              <p:cNvPr id="17" name="Freeform 51">
                <a:extLst>
                  <a:ext uri="{FF2B5EF4-FFF2-40B4-BE49-F238E27FC236}">
                    <a16:creationId xmlns:a16="http://schemas.microsoft.com/office/drawing/2014/main" id="{D2C9087D-2D96-02A3-36AA-99BAAE434C74}"/>
                  </a:ext>
                </a:extLst>
              </p:cNvPr>
              <p:cNvSpPr>
                <a:spLocks/>
              </p:cNvSpPr>
              <p:nvPr/>
            </p:nvSpPr>
            <p:spPr>
              <a:xfrm rot="20400000" flipV="1">
                <a:off x="2130362" y="2057400"/>
                <a:ext cx="3761711" cy="5024942"/>
              </a:xfrm>
              <a:custGeom>
                <a:avLst/>
                <a:gdLst>
                  <a:gd name="connsiteX0" fmla="*/ 2 w 3217276"/>
                  <a:gd name="connsiteY0" fmla="*/ 1076001 h 4297681"/>
                  <a:gd name="connsiteX1" fmla="*/ 145001 w 3217276"/>
                  <a:gd name="connsiteY1" fmla="*/ 1613454 h 4297681"/>
                  <a:gd name="connsiteX2" fmla="*/ 935100 w 3217276"/>
                  <a:gd name="connsiteY2" fmla="*/ 2139788 h 4297681"/>
                  <a:gd name="connsiteX3" fmla="*/ 1065277 w 3217276"/>
                  <a:gd name="connsiteY3" fmla="*/ 2148054 h 4297681"/>
                  <a:gd name="connsiteX4" fmla="*/ 1065276 w 3217276"/>
                  <a:gd name="connsiteY4" fmla="*/ 2148935 h 4297681"/>
                  <a:gd name="connsiteX5" fmla="*/ 1206319 w 3217276"/>
                  <a:gd name="connsiteY5" fmla="*/ 2158308 h 4297681"/>
                  <a:gd name="connsiteX6" fmla="*/ 1994866 w 3217276"/>
                  <a:gd name="connsiteY6" fmla="*/ 2686964 h 4297681"/>
                  <a:gd name="connsiteX7" fmla="*/ 1993284 w 3217276"/>
                  <a:gd name="connsiteY7" fmla="*/ 3762295 h 4297681"/>
                  <a:gd name="connsiteX8" fmla="*/ 1203185 w 3217276"/>
                  <a:gd name="connsiteY8" fmla="*/ 4288629 h 4297681"/>
                  <a:gd name="connsiteX9" fmla="*/ 1062115 w 3217276"/>
                  <a:gd name="connsiteY9" fmla="*/ 4297587 h 4297681"/>
                  <a:gd name="connsiteX10" fmla="*/ 1062115 w 3217276"/>
                  <a:gd name="connsiteY10" fmla="*/ 4297672 h 4297681"/>
                  <a:gd name="connsiteX11" fmla="*/ 2927276 w 3217276"/>
                  <a:gd name="connsiteY11" fmla="*/ 3226909 h 4297681"/>
                  <a:gd name="connsiteX12" fmla="*/ 2930440 w 3217276"/>
                  <a:gd name="connsiteY12" fmla="*/ 1076246 h 4297681"/>
                  <a:gd name="connsiteX13" fmla="*/ 1353344 w 3217276"/>
                  <a:gd name="connsiteY13" fmla="*/ 18935 h 4297681"/>
                  <a:gd name="connsiteX14" fmla="*/ 1074421 w 3217276"/>
                  <a:gd name="connsiteY14" fmla="*/ 399 h 4297681"/>
                  <a:gd name="connsiteX15" fmla="*/ 1074420 w 3217276"/>
                  <a:gd name="connsiteY15" fmla="*/ 0 h 4297681"/>
                  <a:gd name="connsiteX16" fmla="*/ 1071417 w 3217276"/>
                  <a:gd name="connsiteY16" fmla="*/ 200 h 4297681"/>
                  <a:gd name="connsiteX17" fmla="*/ 1068437 w 3217276"/>
                  <a:gd name="connsiteY17" fmla="*/ 2 h 4297681"/>
                  <a:gd name="connsiteX18" fmla="*/ 1068436 w 3217276"/>
                  <a:gd name="connsiteY18" fmla="*/ 398 h 4297681"/>
                  <a:gd name="connsiteX19" fmla="*/ 931967 w 3217276"/>
                  <a:gd name="connsiteY19" fmla="*/ 9467 h 4297681"/>
                  <a:gd name="connsiteX20" fmla="*/ 143419 w 3217276"/>
                  <a:gd name="connsiteY20" fmla="*/ 538123 h 4297681"/>
                  <a:gd name="connsiteX21" fmla="*/ 2 w 3217276"/>
                  <a:gd name="connsiteY21" fmla="*/ 1076001 h 4297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217276" h="4297681">
                    <a:moveTo>
                      <a:pt x="2" y="1076001"/>
                    </a:moveTo>
                    <a:cubicBezTo>
                      <a:pt x="275" y="1261669"/>
                      <a:pt x="48618" y="1447267"/>
                      <a:pt x="145001" y="1613454"/>
                    </a:cubicBezTo>
                    <a:cubicBezTo>
                      <a:pt x="313672" y="1904282"/>
                      <a:pt x="607001" y="2096927"/>
                      <a:pt x="935100" y="2139788"/>
                    </a:cubicBezTo>
                    <a:lnTo>
                      <a:pt x="1065277" y="2148054"/>
                    </a:lnTo>
                    <a:lnTo>
                      <a:pt x="1065276" y="2148935"/>
                    </a:lnTo>
                    <a:lnTo>
                      <a:pt x="1206319" y="2158308"/>
                    </a:lnTo>
                    <a:cubicBezTo>
                      <a:pt x="1534290" y="2202133"/>
                      <a:pt x="1827052" y="2395641"/>
                      <a:pt x="1994866" y="2686964"/>
                    </a:cubicBezTo>
                    <a:cubicBezTo>
                      <a:pt x="2186654" y="3019905"/>
                      <a:pt x="2186051" y="3429920"/>
                      <a:pt x="1993284" y="3762295"/>
                    </a:cubicBezTo>
                    <a:cubicBezTo>
                      <a:pt x="1824613" y="4053123"/>
                      <a:pt x="1531284" y="4245769"/>
                      <a:pt x="1203185" y="4288629"/>
                    </a:cubicBezTo>
                    <a:lnTo>
                      <a:pt x="1062115" y="4297587"/>
                    </a:lnTo>
                    <a:lnTo>
                      <a:pt x="1062115" y="4297672"/>
                    </a:lnTo>
                    <a:cubicBezTo>
                      <a:pt x="1830571" y="4299933"/>
                      <a:pt x="2541742" y="3891660"/>
                      <a:pt x="2927276" y="3226909"/>
                    </a:cubicBezTo>
                    <a:cubicBezTo>
                      <a:pt x="3312810" y="2562158"/>
                      <a:pt x="3314017" y="1742128"/>
                      <a:pt x="2930440" y="1076246"/>
                    </a:cubicBezTo>
                    <a:cubicBezTo>
                      <a:pt x="2594810" y="493600"/>
                      <a:pt x="2009288" y="106585"/>
                      <a:pt x="1353344" y="18935"/>
                    </a:cubicBezTo>
                    <a:lnTo>
                      <a:pt x="1074421" y="399"/>
                    </a:lnTo>
                    <a:lnTo>
                      <a:pt x="1074420" y="0"/>
                    </a:lnTo>
                    <a:lnTo>
                      <a:pt x="1071417" y="200"/>
                    </a:lnTo>
                    <a:lnTo>
                      <a:pt x="1068437" y="2"/>
                    </a:lnTo>
                    <a:lnTo>
                      <a:pt x="1068436" y="398"/>
                    </a:lnTo>
                    <a:lnTo>
                      <a:pt x="931967" y="9467"/>
                    </a:lnTo>
                    <a:cubicBezTo>
                      <a:pt x="603995" y="53292"/>
                      <a:pt x="311234" y="246800"/>
                      <a:pt x="143419" y="538123"/>
                    </a:cubicBezTo>
                    <a:cubicBezTo>
                      <a:pt x="47525" y="704594"/>
                      <a:pt x="-271" y="890333"/>
                      <a:pt x="2" y="1076001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40000"/>
                      <a:lumOff val="60000"/>
                    </a:schemeClr>
                  </a:gs>
                </a:gsLst>
                <a:lin ang="16800000" scaled="0"/>
              </a:gradFill>
              <a:ln w="31750">
                <a:noFill/>
              </a:ln>
              <a:effectLst>
                <a:outerShdw blurRad="50800" dist="50800" dir="5400000" algn="ctr" rotWithShape="0">
                  <a:srgbClr val="000000">
                    <a:alpha val="38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109728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BM Plex Sans" panose="020B0503050000000000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D5670E7A-6EDE-F058-94E9-038FC55A54CF}"/>
                </a:ext>
              </a:extLst>
            </p:cNvPr>
            <p:cNvSpPr txBox="1"/>
            <p:nvPr/>
          </p:nvSpPr>
          <p:spPr>
            <a:xfrm>
              <a:off x="5833218" y="9865162"/>
              <a:ext cx="3812316" cy="646331"/>
            </a:xfrm>
            <a:prstGeom prst="rect">
              <a:avLst/>
            </a:prstGeom>
            <a:noFill/>
            <a:ln w="12700">
              <a:noFill/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>
              <a:spAutoFit/>
            </a:bodyPr>
            <a:lstStyle/>
            <a:p>
              <a:r>
                <a:rPr lang="en-US" sz="3600" b="1" dirty="0">
                  <a:solidFill>
                    <a:schemeClr val="accent1">
                      <a:lumMod val="75000"/>
                    </a:schemeClr>
                  </a:solidFill>
                  <a:latin typeface="IBM Plex Sans Light" panose="020B0403050203000203" pitchFamily="34" charset="0"/>
                </a:rPr>
                <a:t>IBM </a:t>
              </a:r>
              <a:r>
                <a:rPr lang="en-US" sz="3600" b="1" dirty="0">
                  <a:solidFill>
                    <a:schemeClr val="accent1">
                      <a:lumMod val="75000"/>
                    </a:schemeClr>
                  </a:solidFill>
                  <a:latin typeface="IBM Plex Sans" panose="020B0503050203000203" pitchFamily="34" charset="0"/>
                </a:rPr>
                <a:t>Technology</a:t>
              </a:r>
              <a:endParaRPr lang="de-DE" b="1" dirty="0">
                <a:solidFill>
                  <a:schemeClr val="accent1">
                    <a:lumMod val="75000"/>
                  </a:schemeClr>
                </a:solidFill>
                <a:latin typeface="IBM Plex Sans" panose="020B0503050203000203" pitchFamily="34" charset="0"/>
              </a:endParaRPr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D4EE5630-5158-B680-F86F-CAEB543E3817}"/>
                </a:ext>
              </a:extLst>
            </p:cNvPr>
            <p:cNvSpPr txBox="1"/>
            <p:nvPr/>
          </p:nvSpPr>
          <p:spPr>
            <a:xfrm>
              <a:off x="3894190" y="6534834"/>
              <a:ext cx="3568821" cy="646331"/>
            </a:xfrm>
            <a:prstGeom prst="rect">
              <a:avLst/>
            </a:prstGeom>
            <a:noFill/>
            <a:ln w="12700">
              <a:noFill/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chemeClr val="accent6">
                      <a:lumMod val="75000"/>
                    </a:schemeClr>
                  </a:solidFill>
                  <a:latin typeface="IBM Plex Sans Light" panose="020B0403050203000203" pitchFamily="34" charset="0"/>
                </a:rPr>
                <a:t>IBM </a:t>
              </a:r>
              <a:r>
                <a:rPr lang="en-US" b="1" dirty="0">
                  <a:solidFill>
                    <a:schemeClr val="accent6">
                      <a:lumMod val="75000"/>
                    </a:schemeClr>
                  </a:solidFill>
                  <a:latin typeface="IBM Plex Sans" panose="020B0503050203000203" pitchFamily="34" charset="0"/>
                </a:rPr>
                <a:t>Consulting</a:t>
              </a:r>
              <a:endParaRPr lang="de-DE" b="1" dirty="0">
                <a:solidFill>
                  <a:schemeClr val="accent6">
                    <a:lumMod val="75000"/>
                  </a:schemeClr>
                </a:solidFill>
                <a:latin typeface="IBM Plex Sans" panose="020B0503050203000203" pitchFamily="34" charset="0"/>
              </a:endParaRPr>
            </a:p>
          </p:txBody>
        </p: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2E6B0B11-41B5-268C-16B7-9C5F93860FF3}"/>
              </a:ext>
            </a:extLst>
          </p:cNvPr>
          <p:cNvSpPr txBox="1"/>
          <p:nvPr/>
        </p:nvSpPr>
        <p:spPr>
          <a:xfrm>
            <a:off x="15380959" y="6794534"/>
            <a:ext cx="1787176" cy="584775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3200">
                <a:solidFill>
                  <a:schemeClr val="accent6">
                    <a:lumMod val="60000"/>
                    <a:lumOff val="40000"/>
                  </a:schemeClr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IBM </a:t>
            </a:r>
            <a:r>
              <a:rPr lang="en-US" b="1" dirty="0" err="1"/>
              <a:t>iX</a:t>
            </a:r>
            <a:endParaRPr lang="de-DE" b="1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E453FE27-8CB1-3D5F-4132-C2E29EB1642B}"/>
              </a:ext>
            </a:extLst>
          </p:cNvPr>
          <p:cNvSpPr txBox="1"/>
          <p:nvPr/>
        </p:nvSpPr>
        <p:spPr>
          <a:xfrm>
            <a:off x="15380959" y="7746416"/>
            <a:ext cx="2498985" cy="1569660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>
            <a:spAutoFit/>
          </a:bodyPr>
          <a:lstStyle/>
          <a:p>
            <a:r>
              <a:rPr lang="en-US" sz="3200" dirty="0">
                <a:solidFill>
                  <a:schemeClr val="accent6">
                    <a:lumMod val="60000"/>
                    <a:lumOff val="40000"/>
                  </a:schemeClr>
                </a:solidFill>
                <a:latin typeface="IBM Plex Sans Light" panose="020B0403050203000203" pitchFamily="34" charset="0"/>
              </a:rPr>
              <a:t>IBM </a:t>
            </a:r>
            <a:r>
              <a:rPr lang="en-US" sz="32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IBM Plex Sans Light" panose="020B0403050203000203" pitchFamily="34" charset="0"/>
              </a:rPr>
              <a:t>Client Innovation Center</a:t>
            </a:r>
            <a:endParaRPr lang="de-DE" sz="3200" b="1" dirty="0">
              <a:solidFill>
                <a:schemeClr val="accent6">
                  <a:lumMod val="60000"/>
                  <a:lumOff val="40000"/>
                </a:schemeClr>
              </a:solidFill>
              <a:latin typeface="IBM Plex Sans Light" panose="020B0403050203000203" pitchFamily="34" charset="0"/>
            </a:endParaRPr>
          </a:p>
        </p:txBody>
      </p:sp>
      <p:sp>
        <p:nvSpPr>
          <p:cNvPr id="25" name="Mond 24">
            <a:extLst>
              <a:ext uri="{FF2B5EF4-FFF2-40B4-BE49-F238E27FC236}">
                <a16:creationId xmlns:a16="http://schemas.microsoft.com/office/drawing/2014/main" id="{6BE3F4AC-0928-017A-A2F8-8F2E6CE3B023}"/>
              </a:ext>
            </a:extLst>
          </p:cNvPr>
          <p:cNvSpPr/>
          <p:nvPr/>
        </p:nvSpPr>
        <p:spPr bwMode="auto">
          <a:xfrm rot="16200000">
            <a:off x="16884774" y="7357445"/>
            <a:ext cx="3580480" cy="7197211"/>
          </a:xfrm>
          <a:prstGeom prst="moon">
            <a:avLst>
              <a:gd name="adj" fmla="val 30940"/>
            </a:avLst>
          </a:prstGeom>
          <a:solidFill>
            <a:schemeClr val="accent2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>
            <a:outerShdw blurRad="76200" dist="50800" dir="5400000" algn="ctr" rotWithShape="0">
              <a:srgbClr val="000000">
                <a:alpha val="44000"/>
              </a:srgb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4B23B239-7A58-5936-F416-F632D9A9651B}"/>
              </a:ext>
            </a:extLst>
          </p:cNvPr>
          <p:cNvSpPr txBox="1"/>
          <p:nvPr/>
        </p:nvSpPr>
        <p:spPr>
          <a:xfrm>
            <a:off x="16890604" y="11795619"/>
            <a:ext cx="3568821" cy="584775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chemeClr val="accent2">
                    <a:lumMod val="75000"/>
                  </a:schemeClr>
                </a:solidFill>
                <a:latin typeface="IBM Plex Sans Light" panose="020B0403050203000203" pitchFamily="34" charset="0"/>
              </a:rPr>
              <a:t>IBM </a:t>
            </a:r>
            <a:r>
              <a:rPr lang="en-US" sz="3200" dirty="0">
                <a:solidFill>
                  <a:schemeClr val="accent2">
                    <a:lumMod val="75000"/>
                  </a:schemeClr>
                </a:solidFill>
                <a:latin typeface="IBM Plex Sans Medm" panose="020B0503050203000203" pitchFamily="34" charset="0"/>
              </a:rPr>
              <a:t>Research</a:t>
            </a:r>
            <a:endParaRPr lang="de-DE" sz="3200" dirty="0">
              <a:solidFill>
                <a:schemeClr val="accent2">
                  <a:lumMod val="75000"/>
                </a:schemeClr>
              </a:solidFill>
              <a:latin typeface="IBM Plex Sans Medm" panose="020B0503050203000203" pitchFamily="34" charset="0"/>
            </a:endParaRPr>
          </a:p>
        </p:txBody>
      </p: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9010316D-7DB1-B124-51A4-AB004C7020AE}"/>
              </a:ext>
            </a:extLst>
          </p:cNvPr>
          <p:cNvGrpSpPr/>
          <p:nvPr/>
        </p:nvGrpSpPr>
        <p:grpSpPr>
          <a:xfrm>
            <a:off x="747632" y="7981923"/>
            <a:ext cx="2856465" cy="1200329"/>
            <a:chOff x="747632" y="6458883"/>
            <a:chExt cx="2856465" cy="1200329"/>
          </a:xfrm>
        </p:grpSpPr>
        <p:pic>
          <p:nvPicPr>
            <p:cNvPr id="37" name="Grafik 36">
              <a:extLst>
                <a:ext uri="{FF2B5EF4-FFF2-40B4-BE49-F238E27FC236}">
                  <a16:creationId xmlns:a16="http://schemas.microsoft.com/office/drawing/2014/main" id="{8FAE9AD7-52C9-F12F-7A5A-23FB6094CC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47632" y="6462011"/>
              <a:ext cx="1082755" cy="1082755"/>
            </a:xfrm>
            <a:prstGeom prst="rect">
              <a:avLst/>
            </a:prstGeom>
          </p:spPr>
        </p:pic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FC8389B5-D7CD-FCD0-B216-594B0A527459}"/>
                </a:ext>
              </a:extLst>
            </p:cNvPr>
            <p:cNvSpPr txBox="1"/>
            <p:nvPr/>
          </p:nvSpPr>
          <p:spPr>
            <a:xfrm>
              <a:off x="1990380" y="6458883"/>
              <a:ext cx="1613717" cy="1200329"/>
            </a:xfrm>
            <a:prstGeom prst="rect">
              <a:avLst/>
            </a:prstGeom>
            <a:noFill/>
            <a:ln w="12700">
              <a:noFill/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>
              <a:spAutoFit/>
            </a:bodyPr>
            <a:lstStyle/>
            <a:p>
              <a:r>
                <a:rPr lang="en-US" dirty="0">
                  <a:latin typeface="IBM Plex Sans Text" panose="020B0503050203000203" pitchFamily="34" charset="0"/>
                </a:rPr>
                <a:t>Hybrid Cloud</a:t>
              </a:r>
              <a:endParaRPr lang="de-DE" dirty="0">
                <a:latin typeface="IBM Plex Sans Text" panose="020B0503050203000203" pitchFamily="34" charset="0"/>
              </a:endParaRPr>
            </a:p>
          </p:txBody>
        </p: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CC845294-2A6C-FB51-88DC-F34FCBC93D2F}"/>
              </a:ext>
            </a:extLst>
          </p:cNvPr>
          <p:cNvGrpSpPr/>
          <p:nvPr/>
        </p:nvGrpSpPr>
        <p:grpSpPr>
          <a:xfrm>
            <a:off x="5536643" y="7981923"/>
            <a:ext cx="3950590" cy="1200329"/>
            <a:chOff x="6298642" y="6477915"/>
            <a:chExt cx="3950590" cy="1200329"/>
          </a:xfrm>
        </p:grpSpPr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68C269A1-185B-D83D-BCE3-F5091A365CC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298642" y="6555633"/>
              <a:ext cx="958967" cy="958967"/>
            </a:xfrm>
            <a:prstGeom prst="rect">
              <a:avLst/>
            </a:prstGeom>
          </p:spPr>
        </p:pic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7E5E4628-18F4-5F2A-9B81-CE2CAC42298F}"/>
                </a:ext>
              </a:extLst>
            </p:cNvPr>
            <p:cNvSpPr txBox="1"/>
            <p:nvPr/>
          </p:nvSpPr>
          <p:spPr>
            <a:xfrm>
              <a:off x="7524868" y="6477915"/>
              <a:ext cx="2724364" cy="1200329"/>
            </a:xfrm>
            <a:prstGeom prst="rect">
              <a:avLst/>
            </a:prstGeom>
            <a:noFill/>
            <a:ln w="12700">
              <a:noFill/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>
              <a:spAutoFit/>
            </a:bodyPr>
            <a:lstStyle/>
            <a:p>
              <a:r>
                <a:rPr lang="en-US" dirty="0">
                  <a:latin typeface="IBM Plex Sans Text" panose="020B0503050203000203" pitchFamily="34" charset="0"/>
                </a:rPr>
                <a:t>Artificial</a:t>
              </a:r>
            </a:p>
            <a:p>
              <a:r>
                <a:rPr lang="en-US" dirty="0">
                  <a:latin typeface="IBM Plex Sans Text" panose="020B0503050203000203" pitchFamily="34" charset="0"/>
                </a:rPr>
                <a:t>Intelligence</a:t>
              </a:r>
              <a:endParaRPr lang="de-DE" dirty="0">
                <a:latin typeface="IBM Plex Sans Text" panose="020B0503050203000203" pitchFamily="34" charset="0"/>
              </a:endParaRPr>
            </a:p>
          </p:txBody>
        </p:sp>
      </p:grpSp>
      <p:sp>
        <p:nvSpPr>
          <p:cNvPr id="44" name="Textfeld 43">
            <a:extLst>
              <a:ext uri="{FF2B5EF4-FFF2-40B4-BE49-F238E27FC236}">
                <a16:creationId xmlns:a16="http://schemas.microsoft.com/office/drawing/2014/main" id="{EEA1A733-7A38-F8E6-6E85-30C3F4B9D82C}"/>
              </a:ext>
            </a:extLst>
          </p:cNvPr>
          <p:cNvSpPr txBox="1"/>
          <p:nvPr/>
        </p:nvSpPr>
        <p:spPr>
          <a:xfrm>
            <a:off x="4059654" y="7920368"/>
            <a:ext cx="781949" cy="132343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>
            <a:spAutoFit/>
          </a:bodyPr>
          <a:lstStyle/>
          <a:p>
            <a:r>
              <a:rPr lang="en-US" sz="8000" i="1" dirty="0">
                <a:latin typeface="IBM Plex Sans Thin" panose="020B0203050203000203" pitchFamily="34" charset="0"/>
              </a:rPr>
              <a:t>&amp;</a:t>
            </a:r>
            <a:endParaRPr lang="de-DE" sz="8000" i="1" dirty="0">
              <a:latin typeface="IBM Plex Sans Thin" panose="020B0203050203000203" pitchFamily="34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D4E4AC7-9F13-270D-2E78-4D4D32EE8F1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2887050" y="14893"/>
            <a:ext cx="1403653" cy="2244437"/>
          </a:xfrm>
          <a:prstGeom prst="rect">
            <a:avLst/>
          </a:prstGeom>
        </p:spPr>
      </p:pic>
      <p:sp>
        <p:nvSpPr>
          <p:cNvPr id="6" name="Slide Number Placeholder 9">
            <a:extLst>
              <a:ext uri="{FF2B5EF4-FFF2-40B4-BE49-F238E27FC236}">
                <a16:creationId xmlns:a16="http://schemas.microsoft.com/office/drawing/2014/main" id="{FF906E57-62F8-CF69-58C7-5255D6BEA0B3}"/>
              </a:ext>
            </a:extLst>
          </p:cNvPr>
          <p:cNvSpPr txBox="1">
            <a:spLocks/>
          </p:cNvSpPr>
          <p:nvPr/>
        </p:nvSpPr>
        <p:spPr>
          <a:xfrm>
            <a:off x="23421475" y="12889286"/>
            <a:ext cx="438276" cy="31644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9196"/>
            <a:fld id="{86CB4B4D-7CA3-9044-876B-883B54F8677D}" type="slidenum">
              <a:rPr lang="en-US" sz="1600">
                <a:solidFill>
                  <a:srgbClr val="000000"/>
                </a:solidFill>
                <a:latin typeface="IBM Plex Sans" panose="020B0503050203000203" pitchFamily="34" charset="0"/>
              </a:rPr>
              <a:pPr defTabSz="1829196"/>
              <a:t>3</a:t>
            </a:fld>
            <a:endParaRPr lang="en-US" sz="1600" dirty="0">
              <a:solidFill>
                <a:srgbClr val="000000"/>
              </a:solidFill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96895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F966B9FC-C0EB-224C-9A9B-CC37E55A8110}"/>
              </a:ext>
            </a:extLst>
          </p:cNvPr>
          <p:cNvCxnSpPr>
            <a:cxnSpLocks/>
          </p:cNvCxnSpPr>
          <p:nvPr/>
        </p:nvCxnSpPr>
        <p:spPr bwMode="auto">
          <a:xfrm>
            <a:off x="19028646" y="7254549"/>
            <a:ext cx="0" cy="3687384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F4DA9DB-56A4-A041-A6F5-31D495136C53}"/>
              </a:ext>
            </a:extLst>
          </p:cNvPr>
          <p:cNvCxnSpPr>
            <a:cxnSpLocks/>
          </p:cNvCxnSpPr>
          <p:nvPr/>
        </p:nvCxnSpPr>
        <p:spPr bwMode="auto">
          <a:xfrm>
            <a:off x="156019" y="6235440"/>
            <a:ext cx="23522152" cy="0"/>
          </a:xfrm>
          <a:prstGeom prst="line">
            <a:avLst/>
          </a:prstGeom>
          <a:ln w="10160" cap="flat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54B8FCC-9094-1E4E-916C-405D4CEE7967}"/>
              </a:ext>
            </a:extLst>
          </p:cNvPr>
          <p:cNvGrpSpPr/>
          <p:nvPr/>
        </p:nvGrpSpPr>
        <p:grpSpPr>
          <a:xfrm>
            <a:off x="623859" y="6113520"/>
            <a:ext cx="1332416" cy="1032547"/>
            <a:chOff x="404040" y="2526030"/>
            <a:chExt cx="499656" cy="387205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0BD228C4-5600-C849-A9C3-9368BAA8B9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92280" y="2526030"/>
              <a:ext cx="91440" cy="91440"/>
            </a:xfrm>
            <a:prstGeom prst="ellipse">
              <a:avLst/>
            </a:prstGeom>
            <a:solidFill>
              <a:schemeClr val="accent1"/>
            </a:solidFill>
            <a:ln w="3175">
              <a:solidFill>
                <a:schemeClr val="tx2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2133" dirty="0">
                <a:solidFill>
                  <a:srgbClr val="FFFFFF"/>
                </a:solidFill>
                <a:latin typeface="IBM Plex Sans" panose="020B0503050203000203" pitchFamily="34" charset="0"/>
                <a:cs typeface="Arial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A3F9B698-019E-D44B-9E7B-27DA9358347E}"/>
                </a:ext>
              </a:extLst>
            </p:cNvPr>
            <p:cNvSpPr txBox="1"/>
            <p:nvPr/>
          </p:nvSpPr>
          <p:spPr>
            <a:xfrm>
              <a:off x="404040" y="2663190"/>
              <a:ext cx="499656" cy="2500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e-DE" sz="3733" dirty="0">
                  <a:latin typeface="IBM Plex Sans" charset="0"/>
                  <a:ea typeface="IBM Plex Sans" charset="0"/>
                  <a:cs typeface="IBM Plex Sans" charset="0"/>
                </a:rPr>
                <a:t>1899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C6D962C-F576-EA4E-AC61-88696ADC1A8A}"/>
              </a:ext>
            </a:extLst>
          </p:cNvPr>
          <p:cNvGrpSpPr/>
          <p:nvPr/>
        </p:nvGrpSpPr>
        <p:grpSpPr>
          <a:xfrm>
            <a:off x="2512187" y="6132013"/>
            <a:ext cx="1332416" cy="1032547"/>
            <a:chOff x="404040" y="2526030"/>
            <a:chExt cx="499656" cy="387205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63538089-CE95-AB46-9AEF-82502621F7C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92280" y="2526030"/>
              <a:ext cx="91440" cy="91440"/>
            </a:xfrm>
            <a:prstGeom prst="ellipse">
              <a:avLst/>
            </a:prstGeom>
            <a:solidFill>
              <a:schemeClr val="accent1"/>
            </a:solidFill>
            <a:ln w="3175">
              <a:solidFill>
                <a:schemeClr val="tx2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2133" dirty="0">
                <a:solidFill>
                  <a:srgbClr val="FFFFFF"/>
                </a:solidFill>
                <a:latin typeface="IBM Plex Sans" panose="020B0503050203000203" pitchFamily="34" charset="0"/>
                <a:cs typeface="Arial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0AFEA061-80BD-8C44-893A-C480700B5EAE}"/>
                </a:ext>
              </a:extLst>
            </p:cNvPr>
            <p:cNvSpPr txBox="1"/>
            <p:nvPr/>
          </p:nvSpPr>
          <p:spPr>
            <a:xfrm>
              <a:off x="404040" y="2663190"/>
              <a:ext cx="499656" cy="2500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e-DE" sz="3733" dirty="0">
                  <a:latin typeface="IBM Plex Sans" charset="0"/>
                  <a:ea typeface="IBM Plex Sans" charset="0"/>
                  <a:cs typeface="IBM Plex Sans" charset="0"/>
                </a:rPr>
                <a:t>1928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48C2A46-AE32-A240-919C-1B7636D30B62}"/>
              </a:ext>
            </a:extLst>
          </p:cNvPr>
          <p:cNvGrpSpPr/>
          <p:nvPr/>
        </p:nvGrpSpPr>
        <p:grpSpPr>
          <a:xfrm>
            <a:off x="5690504" y="6132013"/>
            <a:ext cx="1332416" cy="1032547"/>
            <a:chOff x="404040" y="2526030"/>
            <a:chExt cx="499656" cy="387205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76653889-85CC-7D4C-87C8-6EF6B291E18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92280" y="2526030"/>
              <a:ext cx="91440" cy="91440"/>
            </a:xfrm>
            <a:prstGeom prst="ellipse">
              <a:avLst/>
            </a:prstGeom>
            <a:solidFill>
              <a:schemeClr val="accent1"/>
            </a:solidFill>
            <a:ln w="3175">
              <a:solidFill>
                <a:schemeClr val="tx2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2133" dirty="0">
                <a:solidFill>
                  <a:srgbClr val="FFFFFF"/>
                </a:solidFill>
                <a:latin typeface="IBM Plex Sans" panose="020B0503050203000203" pitchFamily="34" charset="0"/>
                <a:cs typeface="Arial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00C14FD5-9C4F-994F-91DE-F5E04D3AA56B}"/>
                </a:ext>
              </a:extLst>
            </p:cNvPr>
            <p:cNvSpPr txBox="1"/>
            <p:nvPr/>
          </p:nvSpPr>
          <p:spPr>
            <a:xfrm>
              <a:off x="404040" y="2663190"/>
              <a:ext cx="499656" cy="2500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e-DE" sz="3733" dirty="0">
                  <a:latin typeface="IBM Plex Sans" charset="0"/>
                  <a:ea typeface="IBM Plex Sans" charset="0"/>
                  <a:cs typeface="IBM Plex Sans" charset="0"/>
                </a:rPr>
                <a:t>1969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5140CAC-9E27-3941-BDF7-866A7978C3AC}"/>
              </a:ext>
            </a:extLst>
          </p:cNvPr>
          <p:cNvGrpSpPr/>
          <p:nvPr/>
        </p:nvGrpSpPr>
        <p:grpSpPr>
          <a:xfrm>
            <a:off x="8098035" y="6113520"/>
            <a:ext cx="1332416" cy="1032547"/>
            <a:chOff x="404040" y="2526030"/>
            <a:chExt cx="499656" cy="387205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3C717D48-FFE7-F847-AB6C-8BE6D9DCC5C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92280" y="2526030"/>
              <a:ext cx="91440" cy="91440"/>
            </a:xfrm>
            <a:prstGeom prst="ellipse">
              <a:avLst/>
            </a:prstGeom>
            <a:solidFill>
              <a:schemeClr val="accent1"/>
            </a:solidFill>
            <a:ln w="3175">
              <a:solidFill>
                <a:schemeClr val="tx2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2133" dirty="0">
                <a:solidFill>
                  <a:srgbClr val="FFFFFF"/>
                </a:solidFill>
                <a:latin typeface="IBM Plex Sans" panose="020B0503050203000203" pitchFamily="34" charset="0"/>
                <a:cs typeface="Arial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775A2964-1135-104E-A0BF-ADE592482CBA}"/>
                </a:ext>
              </a:extLst>
            </p:cNvPr>
            <p:cNvSpPr txBox="1"/>
            <p:nvPr/>
          </p:nvSpPr>
          <p:spPr>
            <a:xfrm>
              <a:off x="404040" y="2663190"/>
              <a:ext cx="499656" cy="2500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e-DE" sz="3733" dirty="0">
                  <a:latin typeface="IBM Plex Sans" charset="0"/>
                  <a:ea typeface="IBM Plex Sans" charset="0"/>
                  <a:cs typeface="IBM Plex Sans" charset="0"/>
                </a:rPr>
                <a:t>1973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9038EF8-E121-734D-BC7C-E9874C8C0FB1}"/>
              </a:ext>
            </a:extLst>
          </p:cNvPr>
          <p:cNvGrpSpPr/>
          <p:nvPr/>
        </p:nvGrpSpPr>
        <p:grpSpPr>
          <a:xfrm>
            <a:off x="10836944" y="6113520"/>
            <a:ext cx="1332416" cy="1032547"/>
            <a:chOff x="404040" y="2526030"/>
            <a:chExt cx="499656" cy="387205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85CBBA45-8AC2-E743-B825-0EFE14A795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92280" y="2526030"/>
              <a:ext cx="91440" cy="91440"/>
            </a:xfrm>
            <a:prstGeom prst="ellipse">
              <a:avLst/>
            </a:prstGeom>
            <a:solidFill>
              <a:schemeClr val="accent1"/>
            </a:solidFill>
            <a:ln w="3175">
              <a:solidFill>
                <a:schemeClr val="tx2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2133" dirty="0">
                <a:solidFill>
                  <a:srgbClr val="FFFFFF"/>
                </a:solidFill>
                <a:latin typeface="IBM Plex Sans" panose="020B0503050203000203" pitchFamily="34" charset="0"/>
                <a:cs typeface="Arial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D27C63DE-0D48-954B-826A-A4FC9F4EDE87}"/>
                </a:ext>
              </a:extLst>
            </p:cNvPr>
            <p:cNvSpPr txBox="1"/>
            <p:nvPr/>
          </p:nvSpPr>
          <p:spPr>
            <a:xfrm>
              <a:off x="404040" y="2663190"/>
              <a:ext cx="499656" cy="2500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e-DE" sz="3733" dirty="0">
                  <a:latin typeface="IBM Plex Sans" charset="0"/>
                  <a:ea typeface="IBM Plex Sans" charset="0"/>
                  <a:cs typeface="IBM Plex Sans" charset="0"/>
                </a:rPr>
                <a:t>1979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9F302B-7F29-A041-8C31-50200CEC6370}"/>
              </a:ext>
            </a:extLst>
          </p:cNvPr>
          <p:cNvGrpSpPr/>
          <p:nvPr/>
        </p:nvGrpSpPr>
        <p:grpSpPr>
          <a:xfrm>
            <a:off x="13332014" y="6126213"/>
            <a:ext cx="1332416" cy="1032547"/>
            <a:chOff x="404040" y="2526030"/>
            <a:chExt cx="499656" cy="387205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A753874C-BFD7-CB45-8DC7-769B41A2613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92280" y="2526030"/>
              <a:ext cx="91440" cy="91440"/>
            </a:xfrm>
            <a:prstGeom prst="ellipse">
              <a:avLst/>
            </a:prstGeom>
            <a:solidFill>
              <a:schemeClr val="accent1"/>
            </a:solidFill>
            <a:ln w="3175">
              <a:solidFill>
                <a:schemeClr val="tx2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2133" dirty="0">
                <a:solidFill>
                  <a:srgbClr val="FFFFFF"/>
                </a:solidFill>
                <a:latin typeface="IBM Plex Sans" panose="020B0503050203000203" pitchFamily="34" charset="0"/>
                <a:cs typeface="Arial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46CE78EB-7130-7146-9423-460BD1DC6C81}"/>
                </a:ext>
              </a:extLst>
            </p:cNvPr>
            <p:cNvSpPr txBox="1"/>
            <p:nvPr/>
          </p:nvSpPr>
          <p:spPr>
            <a:xfrm>
              <a:off x="404040" y="2663190"/>
              <a:ext cx="499656" cy="2500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e-DE" sz="3733" dirty="0">
                  <a:latin typeface="IBM Plex Sans" charset="0"/>
                  <a:ea typeface="IBM Plex Sans" charset="0"/>
                  <a:cs typeface="IBM Plex Sans" charset="0"/>
                </a:rPr>
                <a:t>1981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0D695EA-EAD2-4B4C-8818-B787DCCBBEEC}"/>
              </a:ext>
            </a:extLst>
          </p:cNvPr>
          <p:cNvGrpSpPr/>
          <p:nvPr/>
        </p:nvGrpSpPr>
        <p:grpSpPr>
          <a:xfrm>
            <a:off x="15842275" y="6132013"/>
            <a:ext cx="1332416" cy="1032547"/>
            <a:chOff x="404040" y="2526030"/>
            <a:chExt cx="499656" cy="387205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EF8D0E5F-BB62-FB41-9AFC-3C0BF1FEF6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92280" y="2526030"/>
              <a:ext cx="91440" cy="91440"/>
            </a:xfrm>
            <a:prstGeom prst="ellipse">
              <a:avLst/>
            </a:prstGeom>
            <a:solidFill>
              <a:schemeClr val="accent1"/>
            </a:solidFill>
            <a:ln w="3175">
              <a:solidFill>
                <a:schemeClr val="tx2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2133" dirty="0">
                <a:solidFill>
                  <a:srgbClr val="FFFFFF"/>
                </a:solidFill>
                <a:latin typeface="IBM Plex Sans" panose="020B0503050203000203" pitchFamily="34" charset="0"/>
                <a:cs typeface="Arial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634D7E72-BC2E-C54F-A2C1-D9D44A763A60}"/>
                </a:ext>
              </a:extLst>
            </p:cNvPr>
            <p:cNvSpPr txBox="1"/>
            <p:nvPr/>
          </p:nvSpPr>
          <p:spPr>
            <a:xfrm>
              <a:off x="404040" y="2663190"/>
              <a:ext cx="499656" cy="2500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e-DE" sz="3733" dirty="0">
                  <a:latin typeface="IBM Plex Sans" charset="0"/>
                  <a:ea typeface="IBM Plex Sans" charset="0"/>
                  <a:cs typeface="IBM Plex Sans" charset="0"/>
                </a:rPr>
                <a:t>2016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592F134-26DE-1342-9F03-022764DD5932}"/>
              </a:ext>
            </a:extLst>
          </p:cNvPr>
          <p:cNvGrpSpPr/>
          <p:nvPr/>
        </p:nvGrpSpPr>
        <p:grpSpPr>
          <a:xfrm>
            <a:off x="281947" y="3220589"/>
            <a:ext cx="5690725" cy="1674104"/>
            <a:chOff x="176986" y="1289050"/>
            <a:chExt cx="2134022" cy="627789"/>
          </a:xfrm>
        </p:grpSpPr>
        <p:pic>
          <p:nvPicPr>
            <p:cNvPr id="50" name="Picture 49" descr="A picture containing table&#10;&#10;Description automatically generated">
              <a:extLst>
                <a:ext uri="{FF2B5EF4-FFF2-40B4-BE49-F238E27FC236}">
                  <a16:creationId xmlns:a16="http://schemas.microsoft.com/office/drawing/2014/main" id="{E7808798-7225-5543-9242-B14557E7D2C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6986" y="1289050"/>
              <a:ext cx="540000" cy="540000"/>
            </a:xfrm>
            <a:prstGeom prst="rect">
              <a:avLst/>
            </a:prstGeom>
          </p:spPr>
        </p:pic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B04A709D-ACEB-5E41-AC4C-2318AAE0C1A9}"/>
                </a:ext>
              </a:extLst>
            </p:cNvPr>
            <p:cNvSpPr txBox="1"/>
            <p:nvPr/>
          </p:nvSpPr>
          <p:spPr>
            <a:xfrm>
              <a:off x="642688" y="1328217"/>
              <a:ext cx="1668320" cy="5886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3200" dirty="0">
                  <a:latin typeface="IBM Plex Sans Light" panose="020B0403050203000203" pitchFamily="34" charset="0"/>
                  <a:ea typeface="IBM Plex Sans" charset="0"/>
                  <a:cs typeface="IBM Plex Sans" charset="0"/>
                </a:rPr>
                <a:t>First hires of </a:t>
              </a:r>
              <a:br>
                <a:rPr lang="de-DE" sz="3200" dirty="0">
                  <a:latin typeface="IBM Plex Sans Light" panose="020B0403050203000203" pitchFamily="34" charset="0"/>
                  <a:ea typeface="IBM Plex Sans" charset="0"/>
                  <a:cs typeface="IBM Plex Sans" charset="0"/>
                </a:rPr>
              </a:br>
              <a:r>
                <a:rPr lang="de-DE" sz="3200" dirty="0">
                  <a:latin typeface="IBM Plex Sans Light" panose="020B0403050203000203" pitchFamily="34" charset="0"/>
                  <a:ea typeface="IBM Plex Sans" charset="0"/>
                  <a:cs typeface="IBM Plex Sans" charset="0"/>
                </a:rPr>
                <a:t>women and </a:t>
              </a:r>
              <a:br>
                <a:rPr lang="de-DE" sz="3200" dirty="0">
                  <a:latin typeface="IBM Plex Sans Light" panose="020B0403050203000203" pitchFamily="34" charset="0"/>
                  <a:ea typeface="IBM Plex Sans" charset="0"/>
                  <a:cs typeface="IBM Plex Sans" charset="0"/>
                </a:rPr>
              </a:br>
              <a:r>
                <a:rPr lang="de-DE" sz="3200" dirty="0">
                  <a:latin typeface="IBM Plex Sans Light" panose="020B0403050203000203" pitchFamily="34" charset="0"/>
                  <a:ea typeface="IBM Plex Sans" charset="0"/>
                  <a:cs typeface="IBM Plex Sans" charset="0"/>
                </a:rPr>
                <a:t>people </a:t>
              </a:r>
              <a:r>
                <a:rPr lang="en-GB" sz="3200" dirty="0">
                  <a:latin typeface="IBM Plex Sans Light" panose="020B0403050203000203" pitchFamily="34" charset="0"/>
                  <a:ea typeface="IBM Plex Sans" charset="0"/>
                  <a:cs typeface="IBM Plex Sans" charset="0"/>
                </a:rPr>
                <a:t>of</a:t>
              </a:r>
              <a:r>
                <a:rPr lang="de-DE" sz="3200" dirty="0">
                  <a:latin typeface="IBM Plex Sans Light" panose="020B0403050203000203" pitchFamily="34" charset="0"/>
                  <a:ea typeface="IBM Plex Sans" charset="0"/>
                  <a:cs typeface="IBM Plex Sans" charset="0"/>
                </a:rPr>
                <a:t> color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38074ED-A923-E44C-85BA-5BA9CB210670}"/>
              </a:ext>
            </a:extLst>
          </p:cNvPr>
          <p:cNvGrpSpPr/>
          <p:nvPr/>
        </p:nvGrpSpPr>
        <p:grpSpPr>
          <a:xfrm>
            <a:off x="2261915" y="8693464"/>
            <a:ext cx="4142808" cy="1569661"/>
            <a:chOff x="1311504" y="3340617"/>
            <a:chExt cx="1553553" cy="588623"/>
          </a:xfrm>
        </p:grpSpPr>
        <p:pic>
          <p:nvPicPr>
            <p:cNvPr id="48" name="Picture 47" descr="A close up of a logo&#10;&#10;Description automatically generated">
              <a:extLst>
                <a:ext uri="{FF2B5EF4-FFF2-40B4-BE49-F238E27FC236}">
                  <a16:creationId xmlns:a16="http://schemas.microsoft.com/office/drawing/2014/main" id="{65581A54-02FF-EB48-90CF-43D276CFBB8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11504" y="3386793"/>
              <a:ext cx="540000" cy="540000"/>
            </a:xfrm>
            <a:prstGeom prst="rect">
              <a:avLst/>
            </a:prstGeom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8DD34B35-10F5-EE4F-A9D8-BEA6ADD7AF3E}"/>
                </a:ext>
              </a:extLst>
            </p:cNvPr>
            <p:cNvSpPr txBox="1"/>
            <p:nvPr/>
          </p:nvSpPr>
          <p:spPr>
            <a:xfrm>
              <a:off x="1851504" y="3340617"/>
              <a:ext cx="1013553" cy="5886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latin typeface="IBM Plex Sans Light" panose="020B0403050203000203" pitchFamily="34" charset="0"/>
                  <a:ea typeface="IBM Plex Sans" charset="0"/>
                  <a:cs typeface="IBM Plex Sans" charset="0"/>
                </a:rPr>
                <a:t>Optimization of global rail networks</a:t>
              </a:r>
              <a:endParaRPr lang="de-DE" sz="3200" dirty="0">
                <a:latin typeface="IBM Plex Sans Light" panose="020B0403050203000203" pitchFamily="34" charset="0"/>
                <a:ea typeface="IBM Plex Sans" charset="0"/>
                <a:cs typeface="IBM Plex Sans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1BC5AE1-2304-2C44-BD97-59633E626337}"/>
              </a:ext>
            </a:extLst>
          </p:cNvPr>
          <p:cNvGrpSpPr/>
          <p:nvPr/>
        </p:nvGrpSpPr>
        <p:grpSpPr>
          <a:xfrm>
            <a:off x="5864206" y="3220589"/>
            <a:ext cx="4561875" cy="1440000"/>
            <a:chOff x="3993126" y="3578099"/>
            <a:chExt cx="1710703" cy="540000"/>
          </a:xfrm>
        </p:grpSpPr>
        <p:pic>
          <p:nvPicPr>
            <p:cNvPr id="46" name="Picture 45" descr="A close up of a logo&#10;&#10;Description automatically generated">
              <a:extLst>
                <a:ext uri="{FF2B5EF4-FFF2-40B4-BE49-F238E27FC236}">
                  <a16:creationId xmlns:a16="http://schemas.microsoft.com/office/drawing/2014/main" id="{B2B1DB4B-9B43-FD43-886D-63EBF2CA7DC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93126" y="3578099"/>
              <a:ext cx="540000" cy="540000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3AC565EB-E4AF-B746-B7DE-79346E2455B3}"/>
                </a:ext>
              </a:extLst>
            </p:cNvPr>
            <p:cNvSpPr txBox="1"/>
            <p:nvPr/>
          </p:nvSpPr>
          <p:spPr>
            <a:xfrm>
              <a:off x="4528413" y="3617267"/>
              <a:ext cx="1175416" cy="4039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3200" dirty="0">
                  <a:latin typeface="IBM Plex Sans Light" panose="020B0403050203000203" pitchFamily="34" charset="0"/>
                  <a:ea typeface="IBM Plex Sans" charset="0"/>
                  <a:cs typeface="IBM Plex Sans" charset="0"/>
                </a:rPr>
                <a:t>Apollo 11</a:t>
              </a:r>
              <a:br>
                <a:rPr lang="de-DE" sz="3200" dirty="0">
                  <a:latin typeface="IBM Plex Sans Light" panose="020B0403050203000203" pitchFamily="34" charset="0"/>
                  <a:ea typeface="IBM Plex Sans" charset="0"/>
                  <a:cs typeface="IBM Plex Sans" charset="0"/>
                </a:rPr>
              </a:br>
              <a:r>
                <a:rPr lang="de-DE" sz="3200" dirty="0">
                  <a:latin typeface="IBM Plex Sans Light" panose="020B0403050203000203" pitchFamily="34" charset="0"/>
                  <a:ea typeface="IBM Plex Sans" charset="0"/>
                  <a:cs typeface="IBM Plex Sans" charset="0"/>
                </a:rPr>
                <a:t>Moon Landing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C677A30-4BCD-AD41-94E1-EDB14930C004}"/>
              </a:ext>
            </a:extLst>
          </p:cNvPr>
          <p:cNvGrpSpPr/>
          <p:nvPr/>
        </p:nvGrpSpPr>
        <p:grpSpPr>
          <a:xfrm>
            <a:off x="7120818" y="8668038"/>
            <a:ext cx="5044675" cy="1440000"/>
            <a:chOff x="3653746" y="3578099"/>
            <a:chExt cx="1891753" cy="540000"/>
          </a:xfrm>
        </p:grpSpPr>
        <p:pic>
          <p:nvPicPr>
            <p:cNvPr id="44" name="Picture 43" descr="A close up of a screen&#10;&#10;Description automatically generated">
              <a:extLst>
                <a:ext uri="{FF2B5EF4-FFF2-40B4-BE49-F238E27FC236}">
                  <a16:creationId xmlns:a16="http://schemas.microsoft.com/office/drawing/2014/main" id="{C9A5C478-5767-614E-8BC1-2FF87749794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53746" y="3578099"/>
              <a:ext cx="540000" cy="540000"/>
            </a:xfrm>
            <a:prstGeom prst="rect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E6316797-1D50-E644-B8F2-EF6CCA29F303}"/>
                </a:ext>
              </a:extLst>
            </p:cNvPr>
            <p:cNvSpPr txBox="1"/>
            <p:nvPr/>
          </p:nvSpPr>
          <p:spPr>
            <a:xfrm>
              <a:off x="4191401" y="3614361"/>
              <a:ext cx="1354098" cy="4039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latin typeface="IBM Plex Sans Light" panose="020B0403050203000203" pitchFamily="34" charset="0"/>
                  <a:ea typeface="IBM Plex Sans" charset="0"/>
                  <a:cs typeface="IBM Plex Sans" charset="0"/>
                </a:rPr>
                <a:t>First ATM machines</a:t>
              </a:r>
              <a:endParaRPr lang="de-DE" sz="3200" dirty="0">
                <a:latin typeface="IBM Plex Sans Light" panose="020B0403050203000203" pitchFamily="34" charset="0"/>
                <a:ea typeface="IBM Plex Sans" charset="0"/>
                <a:cs typeface="IBM Plex Sans" charset="0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88A060A-0036-EE4C-BB06-ABA5496101C9}"/>
              </a:ext>
            </a:extLst>
          </p:cNvPr>
          <p:cNvGrpSpPr/>
          <p:nvPr/>
        </p:nvGrpSpPr>
        <p:grpSpPr>
          <a:xfrm>
            <a:off x="10878899" y="3220589"/>
            <a:ext cx="4751251" cy="1440000"/>
            <a:chOff x="4506460" y="4116961"/>
            <a:chExt cx="1781719" cy="540000"/>
          </a:xfrm>
        </p:grpSpPr>
        <p:pic>
          <p:nvPicPr>
            <p:cNvPr id="42" name="Picture 41" descr="A picture containing table&#10;&#10;Description automatically generated">
              <a:extLst>
                <a:ext uri="{FF2B5EF4-FFF2-40B4-BE49-F238E27FC236}">
                  <a16:creationId xmlns:a16="http://schemas.microsoft.com/office/drawing/2014/main" id="{1F239E20-A88C-1148-84B0-BE7E2FEE3FA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06460" y="4116961"/>
              <a:ext cx="540000" cy="540000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7E1F809B-C7FC-9348-A2DF-52BCCF5E2607}"/>
                </a:ext>
              </a:extLst>
            </p:cNvPr>
            <p:cNvSpPr txBox="1"/>
            <p:nvPr/>
          </p:nvSpPr>
          <p:spPr>
            <a:xfrm>
              <a:off x="5075765" y="4156129"/>
              <a:ext cx="1212414" cy="4039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3200" dirty="0">
                  <a:latin typeface="IBM Plex Sans Light" panose="020B0403050203000203" pitchFamily="34" charset="0"/>
                  <a:ea typeface="IBM Plex Sans" charset="0"/>
                  <a:cs typeface="IBM Plex Sans" charset="0"/>
                </a:rPr>
                <a:t>First Magnetic Stripe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E6997FE-C9BE-3744-A548-D20BE5186EE8}"/>
              </a:ext>
            </a:extLst>
          </p:cNvPr>
          <p:cNvGrpSpPr/>
          <p:nvPr/>
        </p:nvGrpSpPr>
        <p:grpSpPr>
          <a:xfrm>
            <a:off x="11058067" y="10962890"/>
            <a:ext cx="5815144" cy="1440000"/>
            <a:chOff x="3955622" y="964090"/>
            <a:chExt cx="2180679" cy="540000"/>
          </a:xfrm>
        </p:grpSpPr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E440D48A-70F8-BB4F-99CF-4FB39843FB0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55622" y="964090"/>
              <a:ext cx="540000" cy="540000"/>
            </a:xfrm>
            <a:prstGeom prst="rect">
              <a:avLst/>
            </a:prstGeom>
          </p:spPr>
        </p:pic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483B377E-AA0C-4640-B3F7-0AED7B9FD7A9}"/>
                </a:ext>
              </a:extLst>
            </p:cNvPr>
            <p:cNvSpPr txBox="1"/>
            <p:nvPr/>
          </p:nvSpPr>
          <p:spPr>
            <a:xfrm>
              <a:off x="4495622" y="1003258"/>
              <a:ext cx="1640679" cy="4039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3200" dirty="0">
                  <a:latin typeface="IBM Plex Sans Light" panose="020B0403050203000203" pitchFamily="34" charset="0"/>
                  <a:ea typeface="IBM Plex Sans" charset="0"/>
                  <a:cs typeface="IBM Plex Sans" charset="0"/>
                </a:rPr>
                <a:t>UPC</a:t>
              </a:r>
            </a:p>
            <a:p>
              <a:r>
                <a:rPr lang="de-DE" sz="3200" dirty="0">
                  <a:latin typeface="IBM Plex Sans Light" panose="020B0403050203000203" pitchFamily="34" charset="0"/>
                  <a:ea typeface="IBM Plex Sans" charset="0"/>
                  <a:cs typeface="IBM Plex Sans" charset="0"/>
                </a:rPr>
                <a:t>Barcode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D572E45-37B7-4143-BDEE-46DA10D7F9A5}"/>
              </a:ext>
            </a:extLst>
          </p:cNvPr>
          <p:cNvGrpSpPr/>
          <p:nvPr/>
        </p:nvGrpSpPr>
        <p:grpSpPr>
          <a:xfrm>
            <a:off x="13560392" y="8637786"/>
            <a:ext cx="5806339" cy="1440000"/>
            <a:chOff x="5521498" y="3121493"/>
            <a:chExt cx="2177377" cy="540000"/>
          </a:xfrm>
        </p:grpSpPr>
        <p:pic>
          <p:nvPicPr>
            <p:cNvPr id="38" name="Picture 37" descr="A close up of a logo&#10;&#10;Description automatically generated">
              <a:extLst>
                <a:ext uri="{FF2B5EF4-FFF2-40B4-BE49-F238E27FC236}">
                  <a16:creationId xmlns:a16="http://schemas.microsoft.com/office/drawing/2014/main" id="{B4B3D309-BF72-E640-87BA-46AED9E5640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21498" y="3121493"/>
              <a:ext cx="540000" cy="540000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40A838EE-0980-724C-B16F-22F0170F13E3}"/>
                </a:ext>
              </a:extLst>
            </p:cNvPr>
            <p:cNvSpPr txBox="1"/>
            <p:nvPr/>
          </p:nvSpPr>
          <p:spPr>
            <a:xfrm>
              <a:off x="6058196" y="3151810"/>
              <a:ext cx="1640679" cy="4039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3200" dirty="0">
                  <a:latin typeface="IBM Plex Sans Light" panose="020B0403050203000203" pitchFamily="34" charset="0"/>
                  <a:ea typeface="IBM Plex Sans" charset="0"/>
                  <a:cs typeface="IBM Plex Sans" charset="0"/>
                </a:rPr>
                <a:t>Excimer</a:t>
              </a:r>
              <a:br>
                <a:rPr lang="de-DE" sz="3200" dirty="0">
                  <a:latin typeface="IBM Plex Sans Light" panose="020B0403050203000203" pitchFamily="34" charset="0"/>
                  <a:ea typeface="IBM Plex Sans" charset="0"/>
                  <a:cs typeface="IBM Plex Sans" charset="0"/>
                </a:rPr>
              </a:br>
              <a:r>
                <a:rPr lang="de-DE" sz="3200" dirty="0">
                  <a:latin typeface="IBM Plex Sans Light" panose="020B0403050203000203" pitchFamily="34" charset="0"/>
                  <a:ea typeface="IBM Plex Sans" charset="0"/>
                  <a:cs typeface="IBM Plex Sans" charset="0"/>
                </a:rPr>
                <a:t>Laser Surgery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B104BD4-B59F-9A4D-9174-5C84F87EB632}"/>
              </a:ext>
            </a:extLst>
          </p:cNvPr>
          <p:cNvGrpSpPr/>
          <p:nvPr/>
        </p:nvGrpSpPr>
        <p:grpSpPr>
          <a:xfrm>
            <a:off x="15646670" y="3220589"/>
            <a:ext cx="4212584" cy="1440000"/>
            <a:chOff x="6450799" y="3955800"/>
            <a:chExt cx="1579719" cy="540000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A8A2E236-8F2F-5F4F-8350-A3B3CFB537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50799" y="3955800"/>
              <a:ext cx="540000" cy="540000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3B2F16A-BB69-8B48-93EB-12901F2EF63E}"/>
                </a:ext>
              </a:extLst>
            </p:cNvPr>
            <p:cNvSpPr txBox="1"/>
            <p:nvPr/>
          </p:nvSpPr>
          <p:spPr>
            <a:xfrm>
              <a:off x="6929839" y="3988865"/>
              <a:ext cx="1100679" cy="4039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3200" dirty="0">
                  <a:latin typeface="IBM Plex Sans Light" panose="020B0403050203000203" pitchFamily="34" charset="0"/>
                  <a:ea typeface="IBM Plex Sans" charset="0"/>
                  <a:cs typeface="IBM Plex Sans" charset="0"/>
                </a:rPr>
                <a:t>Online Apple Pay Function</a:t>
              </a:r>
            </a:p>
          </p:txBody>
        </p:sp>
      </p:grp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DD7CD41-C7B6-0446-B3F1-1869E6D0038A}"/>
              </a:ext>
            </a:extLst>
          </p:cNvPr>
          <p:cNvCxnSpPr/>
          <p:nvPr/>
        </p:nvCxnSpPr>
        <p:spPr bwMode="auto">
          <a:xfrm flipH="1">
            <a:off x="985094" y="4830176"/>
            <a:ext cx="0" cy="1150117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E9A82A2-1CFE-3D4F-937B-F450725245A9}"/>
              </a:ext>
            </a:extLst>
          </p:cNvPr>
          <p:cNvCxnSpPr/>
          <p:nvPr/>
        </p:nvCxnSpPr>
        <p:spPr bwMode="auto">
          <a:xfrm flipH="1">
            <a:off x="6047731" y="4830176"/>
            <a:ext cx="0" cy="1150117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B4FC854-331F-6E4E-BF93-55D7A60385CD}"/>
              </a:ext>
            </a:extLst>
          </p:cNvPr>
          <p:cNvCxnSpPr/>
          <p:nvPr/>
        </p:nvCxnSpPr>
        <p:spPr bwMode="auto">
          <a:xfrm flipH="1">
            <a:off x="11194171" y="4830176"/>
            <a:ext cx="0" cy="1150117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4CF3D84-9515-944B-93DB-4D47C9679CCC}"/>
              </a:ext>
            </a:extLst>
          </p:cNvPr>
          <p:cNvCxnSpPr/>
          <p:nvPr/>
        </p:nvCxnSpPr>
        <p:spPr bwMode="auto">
          <a:xfrm flipH="1">
            <a:off x="16211072" y="4830176"/>
            <a:ext cx="0" cy="1150117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C284A87-0DF6-A249-89DC-AF965C160CC6}"/>
              </a:ext>
            </a:extLst>
          </p:cNvPr>
          <p:cNvCxnSpPr/>
          <p:nvPr/>
        </p:nvCxnSpPr>
        <p:spPr bwMode="auto">
          <a:xfrm flipH="1">
            <a:off x="13811160" y="7254549"/>
            <a:ext cx="0" cy="1150117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2387E46-59E4-5245-83DA-3F9FF0447C17}"/>
              </a:ext>
            </a:extLst>
          </p:cNvPr>
          <p:cNvCxnSpPr/>
          <p:nvPr/>
        </p:nvCxnSpPr>
        <p:spPr bwMode="auto">
          <a:xfrm flipH="1">
            <a:off x="8577182" y="7300018"/>
            <a:ext cx="0" cy="1150117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C2F5D2A0-41C4-C24D-8DE3-26DBA50C3392}"/>
              </a:ext>
            </a:extLst>
          </p:cNvPr>
          <p:cNvCxnSpPr/>
          <p:nvPr/>
        </p:nvCxnSpPr>
        <p:spPr bwMode="auto">
          <a:xfrm flipH="1">
            <a:off x="2882915" y="7370744"/>
            <a:ext cx="0" cy="1150117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0D279849-4771-6345-902F-5631F65079CA}"/>
              </a:ext>
            </a:extLst>
          </p:cNvPr>
          <p:cNvCxnSpPr>
            <a:cxnSpLocks/>
          </p:cNvCxnSpPr>
          <p:nvPr/>
        </p:nvCxnSpPr>
        <p:spPr bwMode="auto">
          <a:xfrm flipH="1">
            <a:off x="11194171" y="7274186"/>
            <a:ext cx="0" cy="1150117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149CB11-90A3-7649-80DB-6BFFFFCD9377}"/>
              </a:ext>
            </a:extLst>
          </p:cNvPr>
          <p:cNvCxnSpPr>
            <a:cxnSpLocks/>
          </p:cNvCxnSpPr>
          <p:nvPr/>
        </p:nvCxnSpPr>
        <p:spPr bwMode="auto">
          <a:xfrm flipH="1">
            <a:off x="11244936" y="9868325"/>
            <a:ext cx="0" cy="1150117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Group 66">
            <a:extLst>
              <a:ext uri="{FF2B5EF4-FFF2-40B4-BE49-F238E27FC236}">
                <a16:creationId xmlns:a16="http://schemas.microsoft.com/office/drawing/2014/main" id="{FD78B9A3-CE44-224B-B69A-43C1A08D6086}"/>
              </a:ext>
            </a:extLst>
          </p:cNvPr>
          <p:cNvGrpSpPr/>
          <p:nvPr/>
        </p:nvGrpSpPr>
        <p:grpSpPr>
          <a:xfrm>
            <a:off x="18352536" y="6132013"/>
            <a:ext cx="1332416" cy="1032547"/>
            <a:chOff x="404040" y="2526030"/>
            <a:chExt cx="499656" cy="387205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C55FC535-BFBC-CB49-A43D-6A7CB6B4458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92280" y="2526030"/>
              <a:ext cx="91440" cy="91440"/>
            </a:xfrm>
            <a:prstGeom prst="ellipse">
              <a:avLst/>
            </a:prstGeom>
            <a:solidFill>
              <a:schemeClr val="accent1"/>
            </a:solidFill>
            <a:ln w="3175">
              <a:solidFill>
                <a:schemeClr val="tx2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2133" dirty="0">
                <a:solidFill>
                  <a:srgbClr val="FFFFFF"/>
                </a:solidFill>
                <a:latin typeface="IBM Plex Sans" panose="020B0503050203000203" pitchFamily="34" charset="0"/>
                <a:cs typeface="Arial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B61B779B-AF7B-0D45-8CCC-16163A86FA15}"/>
                </a:ext>
              </a:extLst>
            </p:cNvPr>
            <p:cNvSpPr txBox="1"/>
            <p:nvPr/>
          </p:nvSpPr>
          <p:spPr>
            <a:xfrm>
              <a:off x="404040" y="2663190"/>
              <a:ext cx="499656" cy="2500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e-DE" sz="3733" dirty="0">
                  <a:latin typeface="IBM Plex Sans" charset="0"/>
                  <a:ea typeface="IBM Plex Sans" charset="0"/>
                  <a:cs typeface="IBM Plex Sans" charset="0"/>
                </a:rPr>
                <a:t>2019</a:t>
              </a:r>
            </a:p>
          </p:txBody>
        </p:sp>
      </p:grpSp>
      <p:sp>
        <p:nvSpPr>
          <p:cNvPr id="72" name="TextBox 71">
            <a:extLst>
              <a:ext uri="{FF2B5EF4-FFF2-40B4-BE49-F238E27FC236}">
                <a16:creationId xmlns:a16="http://schemas.microsoft.com/office/drawing/2014/main" id="{18EAD3E9-E9D0-314F-A918-D85A6162220D}"/>
              </a:ext>
            </a:extLst>
          </p:cNvPr>
          <p:cNvSpPr txBox="1"/>
          <p:nvPr/>
        </p:nvSpPr>
        <p:spPr>
          <a:xfrm>
            <a:off x="15630147" y="11176818"/>
            <a:ext cx="2952592" cy="1077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3200" dirty="0">
                <a:latin typeface="IBM Plex Sans Light" panose="020B0403050203000203" pitchFamily="34" charset="0"/>
                <a:ea typeface="IBM Plex Sans" charset="0"/>
                <a:cs typeface="IBM Plex Sans" charset="0"/>
              </a:rPr>
              <a:t>Quantum</a:t>
            </a:r>
          </a:p>
          <a:p>
            <a:pPr algn="r"/>
            <a:r>
              <a:rPr lang="de-DE" sz="3200" dirty="0">
                <a:latin typeface="IBM Plex Sans Light" panose="020B0403050203000203" pitchFamily="34" charset="0"/>
                <a:ea typeface="IBM Plex Sans" charset="0"/>
                <a:cs typeface="IBM Plex Sans" charset="0"/>
              </a:rPr>
              <a:t>Computin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B9749A7-645F-E349-94DA-E9F1545A0089}"/>
              </a:ext>
            </a:extLst>
          </p:cNvPr>
          <p:cNvSpPr txBox="1"/>
          <p:nvPr/>
        </p:nvSpPr>
        <p:spPr>
          <a:xfrm>
            <a:off x="18616792" y="10952029"/>
            <a:ext cx="1180336" cy="14054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DE" sz="8533" dirty="0">
                <a:latin typeface="IBM Plex Sans Thin" panose="020B0203050203000203" pitchFamily="34" charset="0"/>
                <a:ea typeface="IBM Plex Sans" charset="0"/>
                <a:cs typeface="IBM Plex Sans" charset="0"/>
              </a:rPr>
              <a:t>Q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D722EF1-1ADA-8F38-DF9C-97DC2039DFA7}"/>
              </a:ext>
            </a:extLst>
          </p:cNvPr>
          <p:cNvGrpSpPr/>
          <p:nvPr/>
        </p:nvGrpSpPr>
        <p:grpSpPr>
          <a:xfrm>
            <a:off x="20513299" y="6132013"/>
            <a:ext cx="1332416" cy="1032547"/>
            <a:chOff x="404040" y="2526030"/>
            <a:chExt cx="499656" cy="387205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CBB7E394-AF95-2A79-E40A-E06302EBF14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92280" y="2526030"/>
              <a:ext cx="91440" cy="91440"/>
            </a:xfrm>
            <a:prstGeom prst="ellipse">
              <a:avLst/>
            </a:prstGeom>
            <a:solidFill>
              <a:schemeClr val="accent1"/>
            </a:solidFill>
            <a:ln w="3175">
              <a:solidFill>
                <a:schemeClr val="tx2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2133" dirty="0">
                <a:solidFill>
                  <a:srgbClr val="FFFFFF"/>
                </a:solidFill>
                <a:latin typeface="IBM Plex Sans" panose="020B0503050203000203" pitchFamily="34" charset="0"/>
                <a:cs typeface="Arial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53A6099-B944-D17E-6960-172ACBBE0363}"/>
                </a:ext>
              </a:extLst>
            </p:cNvPr>
            <p:cNvSpPr txBox="1"/>
            <p:nvPr/>
          </p:nvSpPr>
          <p:spPr>
            <a:xfrm>
              <a:off x="404040" y="2663190"/>
              <a:ext cx="499656" cy="2500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e-DE" sz="3733" dirty="0">
                  <a:latin typeface="IBM Plex Sans" charset="0"/>
                  <a:ea typeface="IBM Plex Sans" charset="0"/>
                  <a:cs typeface="IBM Plex Sans" charset="0"/>
                </a:rPr>
                <a:t>2021</a:t>
              </a: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5E1816F-3E2F-EDD0-A168-4590009A56EE}"/>
              </a:ext>
            </a:extLst>
          </p:cNvPr>
          <p:cNvCxnSpPr/>
          <p:nvPr/>
        </p:nvCxnSpPr>
        <p:spPr bwMode="auto">
          <a:xfrm flipH="1">
            <a:off x="20911267" y="7300018"/>
            <a:ext cx="0" cy="1150117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>
            <a:extLst>
              <a:ext uri="{FF2B5EF4-FFF2-40B4-BE49-F238E27FC236}">
                <a16:creationId xmlns:a16="http://schemas.microsoft.com/office/drawing/2014/main" id="{F1AC9EED-9C58-B050-CB8C-DCDBD91B806B}"/>
              </a:ext>
            </a:extLst>
          </p:cNvPr>
          <p:cNvSpPr txBox="1"/>
          <p:nvPr/>
        </p:nvSpPr>
        <p:spPr>
          <a:xfrm>
            <a:off x="21895667" y="9069197"/>
            <a:ext cx="1795160" cy="1077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dirty="0" err="1">
                <a:latin typeface="IBM Plex Sans Light" panose="020B0403050203000203" pitchFamily="34" charset="0"/>
                <a:ea typeface="IBM Plex Sans" charset="0"/>
                <a:cs typeface="IBM Plex Sans" charset="0"/>
              </a:rPr>
              <a:t>CovPass</a:t>
            </a:r>
            <a:endParaRPr lang="de-DE" sz="3200" dirty="0">
              <a:latin typeface="IBM Plex Sans Light" panose="020B0403050203000203" pitchFamily="34" charset="0"/>
              <a:ea typeface="IBM Plex Sans" charset="0"/>
              <a:cs typeface="IBM Plex Sans" charset="0"/>
            </a:endParaRPr>
          </a:p>
          <a:p>
            <a:r>
              <a:rPr lang="de-DE" sz="3200" dirty="0">
                <a:latin typeface="IBM Plex Sans Light" panose="020B0403050203000203" pitchFamily="34" charset="0"/>
                <a:ea typeface="IBM Plex Sans" charset="0"/>
                <a:cs typeface="IBM Plex Sans" charset="0"/>
              </a:rPr>
              <a:t>App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C4456B6D-9998-E616-8ACA-B366165CB4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2555424" y="6122149"/>
            <a:ext cx="243840" cy="243840"/>
          </a:xfrm>
          <a:prstGeom prst="ellipse">
            <a:avLst/>
          </a:prstGeom>
          <a:solidFill>
            <a:schemeClr val="accent1"/>
          </a:solidFill>
          <a:ln w="3175">
            <a:solidFill>
              <a:schemeClr val="tx2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2133" dirty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5" name="TextBox 36">
            <a:extLst>
              <a:ext uri="{FF2B5EF4-FFF2-40B4-BE49-F238E27FC236}">
                <a16:creationId xmlns:a16="http://schemas.microsoft.com/office/drawing/2014/main" id="{DA3FF102-4C9C-65D6-DA7B-0094869731B2}"/>
              </a:ext>
            </a:extLst>
          </p:cNvPr>
          <p:cNvSpPr txBox="1"/>
          <p:nvPr/>
        </p:nvSpPr>
        <p:spPr>
          <a:xfrm>
            <a:off x="21613079" y="2874987"/>
            <a:ext cx="21533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dirty="0" err="1">
                <a:latin typeface="IBM Plex Sans Light" panose="020B0403050203000203" pitchFamily="34" charset="0"/>
                <a:ea typeface="IBM Plex Sans" charset="0"/>
                <a:cs typeface="IBM Plex Sans" charset="0"/>
              </a:rPr>
              <a:t>watsonx</a:t>
            </a:r>
            <a:endParaRPr lang="de-DE" sz="3200" dirty="0">
              <a:latin typeface="IBM Plex Sans Light" panose="020B0403050203000203" pitchFamily="34" charset="0"/>
              <a:ea typeface="IBM Plex Sans" charset="0"/>
              <a:cs typeface="IBM Plex Sans" charset="0"/>
            </a:endParaRPr>
          </a:p>
        </p:txBody>
      </p:sp>
      <p:pic>
        <p:nvPicPr>
          <p:cNvPr id="7" name="Grafik 170">
            <a:extLst>
              <a:ext uri="{FF2B5EF4-FFF2-40B4-BE49-F238E27FC236}">
                <a16:creationId xmlns:a16="http://schemas.microsoft.com/office/drawing/2014/main" id="{88A71B9C-C7ED-07CC-3836-FA74AF8320E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2184903" y="3641793"/>
            <a:ext cx="984883" cy="984883"/>
          </a:xfrm>
          <a:prstGeom prst="rect">
            <a:avLst/>
          </a:prstGeom>
        </p:spPr>
      </p:pic>
      <p:sp>
        <p:nvSpPr>
          <p:cNvPr id="84" name="TextBox 8">
            <a:extLst>
              <a:ext uri="{FF2B5EF4-FFF2-40B4-BE49-F238E27FC236}">
                <a16:creationId xmlns:a16="http://schemas.microsoft.com/office/drawing/2014/main" id="{931C91EB-304C-B5C2-5BD7-907AB934CA8D}"/>
              </a:ext>
            </a:extLst>
          </p:cNvPr>
          <p:cNvSpPr txBox="1"/>
          <p:nvPr/>
        </p:nvSpPr>
        <p:spPr>
          <a:xfrm>
            <a:off x="22222427" y="6497773"/>
            <a:ext cx="1332416" cy="6667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3733" dirty="0">
                <a:latin typeface="IBM Plex Sans" charset="0"/>
                <a:ea typeface="IBM Plex Sans" charset="0"/>
                <a:cs typeface="IBM Plex Sans" charset="0"/>
              </a:rPr>
              <a:t>2023</a:t>
            </a:r>
          </a:p>
        </p:txBody>
      </p:sp>
      <p:cxnSp>
        <p:nvCxnSpPr>
          <p:cNvPr id="86" name="Straight Connector 29">
            <a:extLst>
              <a:ext uri="{FF2B5EF4-FFF2-40B4-BE49-F238E27FC236}">
                <a16:creationId xmlns:a16="http://schemas.microsoft.com/office/drawing/2014/main" id="{2812F9EF-8EC2-9FA3-9968-EB43B4BC4385}"/>
              </a:ext>
            </a:extLst>
          </p:cNvPr>
          <p:cNvCxnSpPr/>
          <p:nvPr/>
        </p:nvCxnSpPr>
        <p:spPr bwMode="auto">
          <a:xfrm flipH="1">
            <a:off x="22677344" y="4797032"/>
            <a:ext cx="0" cy="1150117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Footer Placeholder 4">
            <a:extLst>
              <a:ext uri="{FF2B5EF4-FFF2-40B4-BE49-F238E27FC236}">
                <a16:creationId xmlns:a16="http://schemas.microsoft.com/office/drawing/2014/main" id="{979EBDC1-156D-B7CA-387C-B76C039914B3}"/>
              </a:ext>
            </a:extLst>
          </p:cNvPr>
          <p:cNvSpPr txBox="1">
            <a:spLocks/>
          </p:cNvSpPr>
          <p:nvPr/>
        </p:nvSpPr>
        <p:spPr>
          <a:xfrm>
            <a:off x="575997" y="12800826"/>
            <a:ext cx="7152860" cy="3809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IBM @ Q-Hack 24 / © 2024 IBM Corporation</a:t>
            </a:r>
          </a:p>
        </p:txBody>
      </p:sp>
      <p:sp>
        <p:nvSpPr>
          <p:cNvPr id="91" name="Titel 1">
            <a:extLst>
              <a:ext uri="{FF2B5EF4-FFF2-40B4-BE49-F238E27FC236}">
                <a16:creationId xmlns:a16="http://schemas.microsoft.com/office/drawing/2014/main" id="{2C14C66C-B6F3-1181-E34F-BCC00BFF0D6D}"/>
              </a:ext>
            </a:extLst>
          </p:cNvPr>
          <p:cNvSpPr txBox="1">
            <a:spLocks/>
          </p:cNvSpPr>
          <p:nvPr/>
        </p:nvSpPr>
        <p:spPr>
          <a:xfrm>
            <a:off x="441602" y="522284"/>
            <a:ext cx="24629376" cy="1525588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10312" tIns="201168" rIns="228600" bIns="228600"/>
          <a:lstStyle>
            <a:lvl1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0" marR="0" indent="362568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0" marR="0" indent="725139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0" marR="0" indent="108770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0" marR="0" indent="145027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r>
              <a:rPr lang="en-US" sz="6000" dirty="0">
                <a:solidFill>
                  <a:schemeClr val="accent1"/>
                </a:solidFill>
                <a:latin typeface="IBM Plex Sans Light" panose="020B0403050203000203" pitchFamily="34" charset="0"/>
              </a:rPr>
              <a:t>Over 100 years of world-changing progress</a:t>
            </a:r>
            <a:br>
              <a:rPr lang="en-US" sz="6000" dirty="0">
                <a:solidFill>
                  <a:schemeClr val="accent1"/>
                </a:solidFill>
              </a:rPr>
            </a:br>
            <a:endParaRPr lang="en-US" sz="6000" kern="1200" dirty="0">
              <a:solidFill>
                <a:schemeClr val="accent1"/>
              </a:solidFill>
              <a:latin typeface="IBM Plex Sans Light"/>
            </a:endParaRPr>
          </a:p>
        </p:txBody>
      </p:sp>
      <p:pic>
        <p:nvPicPr>
          <p:cNvPr id="85" name="Grafik 84">
            <a:extLst>
              <a:ext uri="{FF2B5EF4-FFF2-40B4-BE49-F238E27FC236}">
                <a16:creationId xmlns:a16="http://schemas.microsoft.com/office/drawing/2014/main" id="{652AAC79-22C8-8E16-1492-665FAEAE678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0214637" y="8911176"/>
            <a:ext cx="1393259" cy="1393259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CFF3FD77-4925-30E1-61AB-A5CF5F2CB53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2887050" y="14893"/>
            <a:ext cx="1403653" cy="2244437"/>
          </a:xfrm>
          <a:prstGeom prst="rect">
            <a:avLst/>
          </a:prstGeom>
        </p:spPr>
      </p:pic>
      <p:sp>
        <p:nvSpPr>
          <p:cNvPr id="66" name="Slide Number Placeholder 9">
            <a:extLst>
              <a:ext uri="{FF2B5EF4-FFF2-40B4-BE49-F238E27FC236}">
                <a16:creationId xmlns:a16="http://schemas.microsoft.com/office/drawing/2014/main" id="{B2119C43-F54F-02AF-8777-44B1D60EA785}"/>
              </a:ext>
            </a:extLst>
          </p:cNvPr>
          <p:cNvSpPr txBox="1">
            <a:spLocks/>
          </p:cNvSpPr>
          <p:nvPr/>
        </p:nvSpPr>
        <p:spPr>
          <a:xfrm>
            <a:off x="23421475" y="12889286"/>
            <a:ext cx="438276" cy="31644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9196"/>
            <a:fld id="{86CB4B4D-7CA3-9044-876B-883B54F8677D}" type="slidenum">
              <a:rPr lang="en-US" sz="1600">
                <a:solidFill>
                  <a:srgbClr val="000000"/>
                </a:solidFill>
                <a:latin typeface="IBM Plex Sans" panose="020B0503050203000203" pitchFamily="34" charset="0"/>
              </a:rPr>
              <a:pPr defTabSz="1829196"/>
              <a:t>4</a:t>
            </a:fld>
            <a:endParaRPr lang="en-US" sz="1600" dirty="0">
              <a:solidFill>
                <a:srgbClr val="000000"/>
              </a:solidFill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39405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1896" y="665499"/>
            <a:ext cx="11038877" cy="11452352"/>
          </a:xfrm>
        </p:spPr>
        <p:txBody>
          <a:bodyPr/>
          <a:lstStyle/>
          <a:p>
            <a:pPr defTabSz="2433310"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  <a:buClr>
                <a:srgbClr val="000099"/>
              </a:buClr>
            </a:pPr>
            <a:r>
              <a:rPr lang="de-DE" sz="6600" dirty="0">
                <a:latin typeface="IBM Plex Sans Light" panose="020B0403050203000203" pitchFamily="34" charset="0"/>
              </a:rPr>
              <a:t>You find IBM at </a:t>
            </a:r>
            <a:r>
              <a:rPr lang="de-DE" sz="6600" dirty="0">
                <a:solidFill>
                  <a:srgbClr val="0F62FE"/>
                </a:solidFill>
                <a:latin typeface="IBM Plex Sans Light" panose="020B0403050203000203" pitchFamily="34" charset="0"/>
              </a:rPr>
              <a:t>25 locations </a:t>
            </a:r>
            <a:r>
              <a:rPr lang="de-DE" sz="6600" dirty="0">
                <a:latin typeface="IBM Plex Sans Light" panose="020B0403050203000203" pitchFamily="34" charset="0"/>
              </a:rPr>
              <a:t>in Germany, Austria and </a:t>
            </a:r>
            <a:r>
              <a:rPr lang="de-DE" sz="6600" dirty="0" err="1">
                <a:latin typeface="IBM Plex Sans Light" panose="020B0403050203000203" pitchFamily="34" charset="0"/>
              </a:rPr>
              <a:t>Switzerland</a:t>
            </a:r>
            <a:r>
              <a:rPr lang="de-DE" sz="6600" dirty="0">
                <a:latin typeface="IBM Plex Sans Light" panose="020B0403050203000203" pitchFamily="34" charset="0"/>
              </a:rPr>
              <a:t>, </a:t>
            </a:r>
            <a:r>
              <a:rPr lang="de-DE" sz="6600" dirty="0" err="1">
                <a:latin typeface="IBM Plex Sans Light" panose="020B0403050203000203" pitchFamily="34" charset="0"/>
              </a:rPr>
              <a:t>including</a:t>
            </a:r>
            <a:r>
              <a:rPr lang="de-DE" sz="6600" dirty="0">
                <a:latin typeface="IBM Plex Sans Light" panose="020B0403050203000203" pitchFamily="34" charset="0"/>
              </a:rPr>
              <a:t> </a:t>
            </a:r>
            <a:r>
              <a:rPr lang="de-DE" sz="6600" dirty="0" err="1">
                <a:latin typeface="IBM Plex Sans Light" panose="020B0403050203000203" pitchFamily="34" charset="0"/>
              </a:rPr>
              <a:t>data</a:t>
            </a:r>
            <a:r>
              <a:rPr lang="de-DE" sz="6600" dirty="0">
                <a:latin typeface="IBM Plex Sans Light" panose="020B0403050203000203" pitchFamily="34" charset="0"/>
              </a:rPr>
              <a:t>, </a:t>
            </a:r>
            <a:r>
              <a:rPr lang="de-DE" sz="6600" dirty="0" err="1">
                <a:latin typeface="IBM Plex Sans Light" panose="020B0403050203000203" pitchFamily="34" charset="0"/>
              </a:rPr>
              <a:t>research</a:t>
            </a:r>
            <a:r>
              <a:rPr lang="de-DE" sz="6600" dirty="0">
                <a:latin typeface="IBM Plex Sans Light" panose="020B0403050203000203" pitchFamily="34" charset="0"/>
              </a:rPr>
              <a:t> and </a:t>
            </a:r>
            <a:r>
              <a:rPr lang="de-DE" sz="6600" dirty="0" err="1">
                <a:latin typeface="IBM Plex Sans Light" panose="020B0403050203000203" pitchFamily="34" charset="0"/>
              </a:rPr>
              <a:t>development</a:t>
            </a:r>
            <a:r>
              <a:rPr lang="de-DE" sz="6600" dirty="0">
                <a:latin typeface="IBM Plex Sans Light" panose="020B0403050203000203" pitchFamily="34" charset="0"/>
              </a:rPr>
              <a:t> </a:t>
            </a:r>
            <a:r>
              <a:rPr lang="de-DE" sz="6600" dirty="0" err="1">
                <a:latin typeface="IBM Plex Sans Light" panose="020B0403050203000203" pitchFamily="34" charset="0"/>
              </a:rPr>
              <a:t>centers</a:t>
            </a:r>
            <a:r>
              <a:rPr lang="de-DE" sz="6600" dirty="0">
                <a:latin typeface="IBM Plex Sans Light" panose="020B0403050203000203" pitchFamily="34" charset="0"/>
              </a:rPr>
              <a:t>. 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F79156A-1518-5F8A-566B-9778DB8F5AD6}"/>
              </a:ext>
            </a:extLst>
          </p:cNvPr>
          <p:cNvGrpSpPr/>
          <p:nvPr/>
        </p:nvGrpSpPr>
        <p:grpSpPr>
          <a:xfrm>
            <a:off x="11844355" y="358587"/>
            <a:ext cx="12732480" cy="12732480"/>
            <a:chOff x="11844355" y="358587"/>
            <a:chExt cx="12732480" cy="12732480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DD2A58B5-A74D-5741-BA41-C6603BAB094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844355" y="358587"/>
              <a:ext cx="12732480" cy="12732480"/>
            </a:xfrm>
            <a:prstGeom prst="rect">
              <a:avLst/>
            </a:prstGeom>
            <a:effectLst>
              <a:glow rad="26292">
                <a:schemeClr val="accent3"/>
              </a:glow>
            </a:effectLst>
          </p:spPr>
        </p:pic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DFF5867B-1C56-4D49-A3FE-E433944C5719}"/>
                </a:ext>
              </a:extLst>
            </p:cNvPr>
            <p:cNvGrpSpPr/>
            <p:nvPr/>
          </p:nvGrpSpPr>
          <p:grpSpPr>
            <a:xfrm>
              <a:off x="13070536" y="535888"/>
              <a:ext cx="10859096" cy="12043584"/>
              <a:chOff x="3982194" y="234140"/>
              <a:chExt cx="4072161" cy="4516344"/>
            </a:xfrm>
          </p:grpSpPr>
          <p:grpSp>
            <p:nvGrpSpPr>
              <p:cNvPr id="130" name="Group 129">
                <a:extLst>
                  <a:ext uri="{FF2B5EF4-FFF2-40B4-BE49-F238E27FC236}">
                    <a16:creationId xmlns:a16="http://schemas.microsoft.com/office/drawing/2014/main" id="{D38FE382-09F0-CC42-A378-48621323D921}"/>
                  </a:ext>
                </a:extLst>
              </p:cNvPr>
              <p:cNvGrpSpPr/>
              <p:nvPr/>
            </p:nvGrpSpPr>
            <p:grpSpPr>
              <a:xfrm>
                <a:off x="5318056" y="910134"/>
                <a:ext cx="534020" cy="106175"/>
                <a:chOff x="5318056" y="910134"/>
                <a:chExt cx="534020" cy="106175"/>
              </a:xfrm>
            </p:grpSpPr>
            <p:sp>
              <p:nvSpPr>
                <p:cNvPr id="14" name="Rectangle 426">
                  <a:extLst>
                    <a:ext uri="{FF2B5EF4-FFF2-40B4-BE49-F238E27FC236}">
                      <a16:creationId xmlns:a16="http://schemas.microsoft.com/office/drawing/2014/main" id="{3A336D1D-F989-DE40-92EA-6FED87E0507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5373848" y="910134"/>
                  <a:ext cx="478228" cy="10617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124541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defTabSz="2433310">
                    <a:buClr>
                      <a:srgbClr val="5B9BD5"/>
                    </a:buClr>
                  </a:pPr>
                  <a:r>
                    <a:rPr lang="de-DE" sz="2661" dirty="0">
                      <a:latin typeface="IBM Plex Sans Light" panose="020B0403050203000203" pitchFamily="34" charset="0"/>
                    </a:rPr>
                    <a:t>Hamburg</a:t>
                  </a:r>
                </a:p>
              </p:txBody>
            </p:sp>
            <p:sp>
              <p:nvSpPr>
                <p:cNvPr id="15" name="Oval 382">
                  <a:extLst>
                    <a:ext uri="{FF2B5EF4-FFF2-40B4-BE49-F238E27FC236}">
                      <a16:creationId xmlns:a16="http://schemas.microsoft.com/office/drawing/2014/main" id="{3ACA54B0-B5A8-CA4E-8E7A-650C3F8E910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gray">
                <a:xfrm>
                  <a:off x="5318056" y="937027"/>
                  <a:ext cx="54000" cy="52345"/>
                </a:xfrm>
                <a:prstGeom prst="ellipse">
                  <a:avLst/>
                </a:prstGeom>
                <a:solidFill>
                  <a:srgbClr val="0062FF"/>
                </a:solidFill>
                <a:ln w="317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defTabSz="2433310">
                    <a:buClr>
                      <a:srgbClr val="5B9BD5"/>
                    </a:buClr>
                  </a:pPr>
                  <a:endParaRPr lang="de-DE" sz="4259">
                    <a:latin typeface="IBM Plex Sans Light" panose="020B0403050203000203" pitchFamily="34" charset="0"/>
                  </a:endParaRPr>
                </a:p>
              </p:txBody>
            </p:sp>
          </p:grpSp>
          <p:grpSp>
            <p:nvGrpSpPr>
              <p:cNvPr id="133" name="Group 132">
                <a:extLst>
                  <a:ext uri="{FF2B5EF4-FFF2-40B4-BE49-F238E27FC236}">
                    <a16:creationId xmlns:a16="http://schemas.microsoft.com/office/drawing/2014/main" id="{5FDF560E-C8AC-B946-8841-27F255BA3CE5}"/>
                  </a:ext>
                </a:extLst>
              </p:cNvPr>
              <p:cNvGrpSpPr/>
              <p:nvPr/>
            </p:nvGrpSpPr>
            <p:grpSpPr>
              <a:xfrm>
                <a:off x="6417266" y="1509516"/>
                <a:ext cx="531036" cy="106175"/>
                <a:chOff x="6346485" y="1615181"/>
                <a:chExt cx="531036" cy="106175"/>
              </a:xfrm>
            </p:grpSpPr>
            <p:sp>
              <p:nvSpPr>
                <p:cNvPr id="17" name="Oval 382">
                  <a:extLst>
                    <a:ext uri="{FF2B5EF4-FFF2-40B4-BE49-F238E27FC236}">
                      <a16:creationId xmlns:a16="http://schemas.microsoft.com/office/drawing/2014/main" id="{98A90B5F-3BA9-F34C-A8A3-CD9FF3E739B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gray">
                <a:xfrm flipV="1">
                  <a:off x="6346485" y="1639398"/>
                  <a:ext cx="54000" cy="52345"/>
                </a:xfrm>
                <a:prstGeom prst="ellipse">
                  <a:avLst/>
                </a:prstGeom>
                <a:solidFill>
                  <a:srgbClr val="0062FF"/>
                </a:solidFill>
                <a:ln w="317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defTabSz="2433310">
                    <a:buClr>
                      <a:srgbClr val="5B9BD5"/>
                    </a:buClr>
                  </a:pPr>
                  <a:endParaRPr lang="de-DE" sz="4259">
                    <a:latin typeface="IBM Plex Sans Light" panose="020B0403050203000203" pitchFamily="34" charset="0"/>
                  </a:endParaRPr>
                </a:p>
              </p:txBody>
            </p:sp>
            <p:sp>
              <p:nvSpPr>
                <p:cNvPr id="33" name="Rectangle 426">
                  <a:extLst>
                    <a:ext uri="{FF2B5EF4-FFF2-40B4-BE49-F238E27FC236}">
                      <a16:creationId xmlns:a16="http://schemas.microsoft.com/office/drawing/2014/main" id="{3476D637-A084-404C-A1C6-07C0435240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6399293" y="1615181"/>
                  <a:ext cx="478228" cy="10617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124541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defTabSz="2433310">
                    <a:buClr>
                      <a:srgbClr val="5B9BD5"/>
                    </a:buClr>
                  </a:pPr>
                  <a:r>
                    <a:rPr lang="de-DE" sz="2661" dirty="0">
                      <a:latin typeface="IBM Plex Sans Light" panose="020B0403050203000203" pitchFamily="34" charset="0"/>
                    </a:rPr>
                    <a:t>Berlin</a:t>
                  </a:r>
                </a:p>
              </p:txBody>
            </p:sp>
          </p:grpSp>
          <p:grpSp>
            <p:nvGrpSpPr>
              <p:cNvPr id="132" name="Group 131">
                <a:extLst>
                  <a:ext uri="{FF2B5EF4-FFF2-40B4-BE49-F238E27FC236}">
                    <a16:creationId xmlns:a16="http://schemas.microsoft.com/office/drawing/2014/main" id="{3C472A3E-3B71-E641-81A9-5191A8E5D7D0}"/>
                  </a:ext>
                </a:extLst>
              </p:cNvPr>
              <p:cNvGrpSpPr/>
              <p:nvPr/>
            </p:nvGrpSpPr>
            <p:grpSpPr>
              <a:xfrm>
                <a:off x="5952953" y="1746718"/>
                <a:ext cx="534821" cy="106175"/>
                <a:chOff x="5718606" y="1826833"/>
                <a:chExt cx="534821" cy="106175"/>
              </a:xfrm>
            </p:grpSpPr>
            <p:sp>
              <p:nvSpPr>
                <p:cNvPr id="23" name="Oval 382">
                  <a:extLst>
                    <a:ext uri="{FF2B5EF4-FFF2-40B4-BE49-F238E27FC236}">
                      <a16:creationId xmlns:a16="http://schemas.microsoft.com/office/drawing/2014/main" id="{894004BF-1774-434F-89A0-32B81B2FB9B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gray">
                <a:xfrm>
                  <a:off x="5718606" y="1863173"/>
                  <a:ext cx="54000" cy="52344"/>
                </a:xfrm>
                <a:prstGeom prst="ellipse">
                  <a:avLst/>
                </a:prstGeom>
                <a:solidFill>
                  <a:srgbClr val="0062FF"/>
                </a:solidFill>
                <a:ln w="317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defTabSz="2433310">
                    <a:buClr>
                      <a:srgbClr val="5B9BD5"/>
                    </a:buClr>
                  </a:pPr>
                  <a:endParaRPr lang="de-DE" sz="4259">
                    <a:latin typeface="IBM Plex Sans Light" panose="020B0403050203000203" pitchFamily="34" charset="0"/>
                  </a:endParaRPr>
                </a:p>
              </p:txBody>
            </p:sp>
            <p:sp>
              <p:nvSpPr>
                <p:cNvPr id="34" name="Rectangle 426">
                  <a:extLst>
                    <a:ext uri="{FF2B5EF4-FFF2-40B4-BE49-F238E27FC236}">
                      <a16:creationId xmlns:a16="http://schemas.microsoft.com/office/drawing/2014/main" id="{039C2082-1CEB-3243-9263-11007FF3BC4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5775199" y="1826833"/>
                  <a:ext cx="478228" cy="10617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124541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defTabSz="2433310">
                    <a:buClr>
                      <a:srgbClr val="5B9BD5"/>
                    </a:buClr>
                  </a:pPr>
                  <a:r>
                    <a:rPr lang="de-DE" sz="2661" dirty="0">
                      <a:latin typeface="IBM Plex Sans Light" panose="020B0403050203000203" pitchFamily="34" charset="0"/>
                    </a:rPr>
                    <a:t>Magdeburg</a:t>
                  </a:r>
                </a:p>
              </p:txBody>
            </p:sp>
          </p:grpSp>
          <p:grpSp>
            <p:nvGrpSpPr>
              <p:cNvPr id="143" name="Group 142">
                <a:extLst>
                  <a:ext uri="{FF2B5EF4-FFF2-40B4-BE49-F238E27FC236}">
                    <a16:creationId xmlns:a16="http://schemas.microsoft.com/office/drawing/2014/main" id="{18812945-D3F2-F448-923F-B31F58F560A1}"/>
                  </a:ext>
                </a:extLst>
              </p:cNvPr>
              <p:cNvGrpSpPr/>
              <p:nvPr/>
            </p:nvGrpSpPr>
            <p:grpSpPr>
              <a:xfrm>
                <a:off x="6244238" y="2333296"/>
                <a:ext cx="561072" cy="106175"/>
                <a:chOff x="6151704" y="2453739"/>
                <a:chExt cx="561072" cy="106175"/>
              </a:xfrm>
            </p:grpSpPr>
            <p:sp>
              <p:nvSpPr>
                <p:cNvPr id="24" name="Oval 382">
                  <a:extLst>
                    <a:ext uri="{FF2B5EF4-FFF2-40B4-BE49-F238E27FC236}">
                      <a16:creationId xmlns:a16="http://schemas.microsoft.com/office/drawing/2014/main" id="{8E9EACB5-7EC3-D843-88D6-9D97AF735C5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gray">
                <a:xfrm>
                  <a:off x="6151704" y="2483461"/>
                  <a:ext cx="54000" cy="52344"/>
                </a:xfrm>
                <a:prstGeom prst="ellipse">
                  <a:avLst/>
                </a:prstGeom>
                <a:solidFill>
                  <a:srgbClr val="0062FF"/>
                </a:solidFill>
                <a:ln w="317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defTabSz="2433310">
                    <a:buClr>
                      <a:srgbClr val="5B9BD5"/>
                    </a:buClr>
                  </a:pPr>
                  <a:endParaRPr lang="de-DE" sz="4259">
                    <a:latin typeface="IBM Plex Sans Light" panose="020B0403050203000203" pitchFamily="34" charset="0"/>
                  </a:endParaRPr>
                </a:p>
              </p:txBody>
            </p:sp>
            <p:sp>
              <p:nvSpPr>
                <p:cNvPr id="35" name="Rectangle 426">
                  <a:extLst>
                    <a:ext uri="{FF2B5EF4-FFF2-40B4-BE49-F238E27FC236}">
                      <a16:creationId xmlns:a16="http://schemas.microsoft.com/office/drawing/2014/main" id="{73A9119B-FA7F-3D4F-A773-E2A406F9BCF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6234548" y="2453739"/>
                  <a:ext cx="478228" cy="10617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124541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defTabSz="2433310">
                    <a:buClr>
                      <a:srgbClr val="5B9BD5"/>
                    </a:buClr>
                  </a:pPr>
                  <a:r>
                    <a:rPr lang="de-DE" sz="2661" dirty="0">
                      <a:latin typeface="IBM Plex Sans Light" panose="020B0403050203000203" pitchFamily="34" charset="0"/>
                    </a:rPr>
                    <a:t>Chemnitz</a:t>
                  </a:r>
                </a:p>
              </p:txBody>
            </p:sp>
          </p:grpSp>
          <p:grpSp>
            <p:nvGrpSpPr>
              <p:cNvPr id="142" name="Group 141">
                <a:extLst>
                  <a:ext uri="{FF2B5EF4-FFF2-40B4-BE49-F238E27FC236}">
                    <a16:creationId xmlns:a16="http://schemas.microsoft.com/office/drawing/2014/main" id="{2CB5F838-A0B5-6C4C-910F-B82F301C0859}"/>
                  </a:ext>
                </a:extLst>
              </p:cNvPr>
              <p:cNvGrpSpPr/>
              <p:nvPr/>
            </p:nvGrpSpPr>
            <p:grpSpPr>
              <a:xfrm>
                <a:off x="5725937" y="2253691"/>
                <a:ext cx="530590" cy="106175"/>
                <a:chOff x="5638625" y="2382670"/>
                <a:chExt cx="530590" cy="106175"/>
              </a:xfrm>
            </p:grpSpPr>
            <p:sp>
              <p:nvSpPr>
                <p:cNvPr id="25" name="Oval 382">
                  <a:extLst>
                    <a:ext uri="{FF2B5EF4-FFF2-40B4-BE49-F238E27FC236}">
                      <a16:creationId xmlns:a16="http://schemas.microsoft.com/office/drawing/2014/main" id="{EB46A557-4CD6-DD4B-B900-D34B3BDFD1E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gray">
                <a:xfrm>
                  <a:off x="5638625" y="2401488"/>
                  <a:ext cx="54000" cy="52345"/>
                </a:xfrm>
                <a:prstGeom prst="ellipse">
                  <a:avLst/>
                </a:prstGeom>
                <a:solidFill>
                  <a:srgbClr val="0062FF"/>
                </a:solidFill>
                <a:ln w="317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defTabSz="2433310">
                    <a:buClr>
                      <a:srgbClr val="5B9BD5"/>
                    </a:buClr>
                  </a:pPr>
                  <a:endParaRPr lang="de-DE" sz="4259">
                    <a:latin typeface="IBM Plex Sans Light" panose="020B0403050203000203" pitchFamily="34" charset="0"/>
                  </a:endParaRPr>
                </a:p>
              </p:txBody>
            </p:sp>
            <p:sp>
              <p:nvSpPr>
                <p:cNvPr id="36" name="Rectangle 426">
                  <a:extLst>
                    <a:ext uri="{FF2B5EF4-FFF2-40B4-BE49-F238E27FC236}">
                      <a16:creationId xmlns:a16="http://schemas.microsoft.com/office/drawing/2014/main" id="{68D3092B-1755-7643-90AA-C7E36A798AA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5690987" y="2382670"/>
                  <a:ext cx="478228" cy="10617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124541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defTabSz="2433310">
                    <a:buClr>
                      <a:srgbClr val="5B9BD5"/>
                    </a:buClr>
                  </a:pPr>
                  <a:r>
                    <a:rPr lang="de-DE" sz="2661" dirty="0">
                      <a:latin typeface="IBM Plex Sans Light" panose="020B0403050203000203" pitchFamily="34" charset="0"/>
                    </a:rPr>
                    <a:t>Erfurt</a:t>
                  </a:r>
                </a:p>
              </p:txBody>
            </p:sp>
          </p:grpSp>
          <p:grpSp>
            <p:nvGrpSpPr>
              <p:cNvPr id="135" name="Group 134">
                <a:extLst>
                  <a:ext uri="{FF2B5EF4-FFF2-40B4-BE49-F238E27FC236}">
                    <a16:creationId xmlns:a16="http://schemas.microsoft.com/office/drawing/2014/main" id="{E59CB33F-C05F-3348-BCE0-AB620F582D29}"/>
                  </a:ext>
                </a:extLst>
              </p:cNvPr>
              <p:cNvGrpSpPr/>
              <p:nvPr/>
            </p:nvGrpSpPr>
            <p:grpSpPr>
              <a:xfrm>
                <a:off x="4133385" y="1985967"/>
                <a:ext cx="532075" cy="106175"/>
                <a:chOff x="4133385" y="1985967"/>
                <a:chExt cx="532075" cy="106175"/>
              </a:xfrm>
            </p:grpSpPr>
            <p:sp>
              <p:nvSpPr>
                <p:cNvPr id="19" name="Oval 382">
                  <a:extLst>
                    <a:ext uri="{FF2B5EF4-FFF2-40B4-BE49-F238E27FC236}">
                      <a16:creationId xmlns:a16="http://schemas.microsoft.com/office/drawing/2014/main" id="{7B5271EF-AD5C-2D4D-8CB8-1FA223E6B82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gray">
                <a:xfrm>
                  <a:off x="4133385" y="2018620"/>
                  <a:ext cx="54000" cy="52344"/>
                </a:xfrm>
                <a:prstGeom prst="ellipse">
                  <a:avLst/>
                </a:prstGeom>
                <a:solidFill>
                  <a:srgbClr val="0062FF"/>
                </a:solidFill>
                <a:ln w="317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defTabSz="2433310">
                    <a:buClr>
                      <a:srgbClr val="5B9BD5"/>
                    </a:buClr>
                  </a:pPr>
                  <a:endParaRPr lang="de-DE" sz="4259">
                    <a:latin typeface="IBM Plex Sans Light" panose="020B0403050203000203" pitchFamily="34" charset="0"/>
                  </a:endParaRPr>
                </a:p>
              </p:txBody>
            </p:sp>
            <p:sp>
              <p:nvSpPr>
                <p:cNvPr id="38" name="Rectangle 426">
                  <a:extLst>
                    <a:ext uri="{FF2B5EF4-FFF2-40B4-BE49-F238E27FC236}">
                      <a16:creationId xmlns:a16="http://schemas.microsoft.com/office/drawing/2014/main" id="{9014F600-75E9-AF4A-A71D-D5442B2EC90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4187232" y="1985967"/>
                  <a:ext cx="478228" cy="10617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124541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defTabSz="2433310">
                    <a:buClr>
                      <a:srgbClr val="5B9BD5"/>
                    </a:buClr>
                  </a:pPr>
                  <a:r>
                    <a:rPr lang="de-DE" sz="2661" dirty="0">
                      <a:latin typeface="IBM Plex Sans Light" panose="020B0403050203000203" pitchFamily="34" charset="0"/>
                    </a:rPr>
                    <a:t>Dusseldorf</a:t>
                  </a:r>
                </a:p>
              </p:txBody>
            </p:sp>
          </p:grpSp>
          <p:grpSp>
            <p:nvGrpSpPr>
              <p:cNvPr id="136" name="Group 135">
                <a:extLst>
                  <a:ext uri="{FF2B5EF4-FFF2-40B4-BE49-F238E27FC236}">
                    <a16:creationId xmlns:a16="http://schemas.microsoft.com/office/drawing/2014/main" id="{B988C65A-A46C-5E48-8B78-49B576BD790C}"/>
                  </a:ext>
                </a:extLst>
              </p:cNvPr>
              <p:cNvGrpSpPr/>
              <p:nvPr/>
            </p:nvGrpSpPr>
            <p:grpSpPr>
              <a:xfrm>
                <a:off x="4217530" y="2139158"/>
                <a:ext cx="534531" cy="106175"/>
                <a:chOff x="4217530" y="2139158"/>
                <a:chExt cx="534531" cy="106175"/>
              </a:xfrm>
            </p:grpSpPr>
            <p:sp>
              <p:nvSpPr>
                <p:cNvPr id="20" name="Oval 382">
                  <a:extLst>
                    <a:ext uri="{FF2B5EF4-FFF2-40B4-BE49-F238E27FC236}">
                      <a16:creationId xmlns:a16="http://schemas.microsoft.com/office/drawing/2014/main" id="{C4142FDE-8ECA-1A48-89E7-6BB960DA113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gray">
                <a:xfrm>
                  <a:off x="4217530" y="2165101"/>
                  <a:ext cx="54000" cy="52344"/>
                </a:xfrm>
                <a:prstGeom prst="ellipse">
                  <a:avLst/>
                </a:prstGeom>
                <a:solidFill>
                  <a:srgbClr val="0062FF"/>
                </a:solidFill>
                <a:ln w="317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defTabSz="2433310">
                    <a:buClr>
                      <a:srgbClr val="5B9BD5"/>
                    </a:buClr>
                  </a:pPr>
                  <a:endParaRPr lang="de-DE" sz="4259">
                    <a:latin typeface="IBM Plex Sans Light" panose="020B0403050203000203" pitchFamily="34" charset="0"/>
                  </a:endParaRPr>
                </a:p>
              </p:txBody>
            </p:sp>
            <p:sp>
              <p:nvSpPr>
                <p:cNvPr id="39" name="Rectangle 426">
                  <a:extLst>
                    <a:ext uri="{FF2B5EF4-FFF2-40B4-BE49-F238E27FC236}">
                      <a16:creationId xmlns:a16="http://schemas.microsoft.com/office/drawing/2014/main" id="{9FD0B1BB-F78D-4C45-8050-F95C852E8FF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4273833" y="2139158"/>
                  <a:ext cx="478228" cy="10617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124541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defTabSz="2433310">
                    <a:buClr>
                      <a:srgbClr val="5B9BD5"/>
                    </a:buClr>
                  </a:pPr>
                  <a:r>
                    <a:rPr lang="de-DE" sz="2661" dirty="0">
                      <a:latin typeface="IBM Plex Sans Light" panose="020B0403050203000203" pitchFamily="34" charset="0"/>
                    </a:rPr>
                    <a:t>Cologne</a:t>
                  </a:r>
                </a:p>
              </p:txBody>
            </p:sp>
          </p:grpSp>
          <p:grpSp>
            <p:nvGrpSpPr>
              <p:cNvPr id="138" name="Group 137">
                <a:extLst>
                  <a:ext uri="{FF2B5EF4-FFF2-40B4-BE49-F238E27FC236}">
                    <a16:creationId xmlns:a16="http://schemas.microsoft.com/office/drawing/2014/main" id="{1399C594-6453-1743-A18A-A19FD63D28EA}"/>
                  </a:ext>
                </a:extLst>
              </p:cNvPr>
              <p:cNvGrpSpPr/>
              <p:nvPr/>
            </p:nvGrpSpPr>
            <p:grpSpPr>
              <a:xfrm>
                <a:off x="4800632" y="2617826"/>
                <a:ext cx="502939" cy="106175"/>
                <a:chOff x="4800632" y="2617826"/>
                <a:chExt cx="502939" cy="106175"/>
              </a:xfrm>
            </p:grpSpPr>
            <p:sp>
              <p:nvSpPr>
                <p:cNvPr id="26" name="Oval 382">
                  <a:extLst>
                    <a:ext uri="{FF2B5EF4-FFF2-40B4-BE49-F238E27FC236}">
                      <a16:creationId xmlns:a16="http://schemas.microsoft.com/office/drawing/2014/main" id="{D3DFF76E-8AEC-4C4E-9F86-9E494512AD3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gray">
                <a:xfrm>
                  <a:off x="4800632" y="2640975"/>
                  <a:ext cx="54000" cy="52344"/>
                </a:xfrm>
                <a:prstGeom prst="ellipse">
                  <a:avLst/>
                </a:prstGeom>
                <a:solidFill>
                  <a:srgbClr val="0062FF"/>
                </a:solidFill>
                <a:ln w="317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defTabSz="2433310">
                    <a:buClr>
                      <a:srgbClr val="5B9BD5"/>
                    </a:buClr>
                  </a:pPr>
                  <a:endParaRPr lang="de-DE" sz="4259">
                    <a:latin typeface="IBM Plex Sans Light" panose="020B0403050203000203" pitchFamily="34" charset="0"/>
                  </a:endParaRPr>
                </a:p>
              </p:txBody>
            </p:sp>
            <p:sp>
              <p:nvSpPr>
                <p:cNvPr id="41" name="Rectangle 426">
                  <a:extLst>
                    <a:ext uri="{FF2B5EF4-FFF2-40B4-BE49-F238E27FC236}">
                      <a16:creationId xmlns:a16="http://schemas.microsoft.com/office/drawing/2014/main" id="{ED6326C4-00F1-2D43-93E7-CCC66B67C28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4825343" y="2617826"/>
                  <a:ext cx="478228" cy="10617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124541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defTabSz="2433310">
                    <a:buClr>
                      <a:srgbClr val="5B9BD5"/>
                    </a:buClr>
                  </a:pPr>
                  <a:r>
                    <a:rPr lang="de-DE" sz="2661" dirty="0">
                      <a:latin typeface="IBM Plex Sans Light" panose="020B0403050203000203" pitchFamily="34" charset="0"/>
                    </a:rPr>
                    <a:t>Frankfurt</a:t>
                  </a:r>
                </a:p>
              </p:txBody>
            </p:sp>
          </p:grpSp>
          <p:grpSp>
            <p:nvGrpSpPr>
              <p:cNvPr id="139" name="Group 138">
                <a:extLst>
                  <a:ext uri="{FF2B5EF4-FFF2-40B4-BE49-F238E27FC236}">
                    <a16:creationId xmlns:a16="http://schemas.microsoft.com/office/drawing/2014/main" id="{115E5FE7-9957-4D42-91DF-E924079E6C81}"/>
                  </a:ext>
                </a:extLst>
              </p:cNvPr>
              <p:cNvGrpSpPr/>
              <p:nvPr/>
            </p:nvGrpSpPr>
            <p:grpSpPr>
              <a:xfrm>
                <a:off x="4552029" y="3073640"/>
                <a:ext cx="529608" cy="106175"/>
                <a:chOff x="4552029" y="3073640"/>
                <a:chExt cx="529608" cy="106175"/>
              </a:xfrm>
            </p:grpSpPr>
            <p:sp>
              <p:nvSpPr>
                <p:cNvPr id="27" name="Oval 382">
                  <a:extLst>
                    <a:ext uri="{FF2B5EF4-FFF2-40B4-BE49-F238E27FC236}">
                      <a16:creationId xmlns:a16="http://schemas.microsoft.com/office/drawing/2014/main" id="{F24F5B7A-A787-9A4C-A122-61EAA12F6BC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gray">
                <a:xfrm>
                  <a:off x="4552029" y="3101523"/>
                  <a:ext cx="54000" cy="52344"/>
                </a:xfrm>
                <a:prstGeom prst="ellipse">
                  <a:avLst/>
                </a:prstGeom>
                <a:solidFill>
                  <a:srgbClr val="0062FF"/>
                </a:solidFill>
                <a:ln w="317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defTabSz="2433310">
                    <a:buClr>
                      <a:srgbClr val="5B9BD5"/>
                    </a:buClr>
                  </a:pPr>
                  <a:endParaRPr lang="de-DE" sz="4259">
                    <a:latin typeface="IBM Plex Sans Light" panose="020B0403050203000203" pitchFamily="34" charset="0"/>
                  </a:endParaRPr>
                </a:p>
              </p:txBody>
            </p:sp>
            <p:sp>
              <p:nvSpPr>
                <p:cNvPr id="42" name="Rectangle 426">
                  <a:extLst>
                    <a:ext uri="{FF2B5EF4-FFF2-40B4-BE49-F238E27FC236}">
                      <a16:creationId xmlns:a16="http://schemas.microsoft.com/office/drawing/2014/main" id="{ADD67CDB-2472-524D-9235-E99FC3EC17C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4603409" y="3073640"/>
                  <a:ext cx="478228" cy="10617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124541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defTabSz="2433310">
                    <a:buClr>
                      <a:srgbClr val="5B9BD5"/>
                    </a:buClr>
                  </a:pPr>
                  <a:r>
                    <a:rPr lang="de-DE" sz="2661" dirty="0">
                      <a:latin typeface="IBM Plex Sans Light" panose="020B0403050203000203" pitchFamily="34" charset="0"/>
                    </a:rPr>
                    <a:t>Walldorf</a:t>
                  </a:r>
                </a:p>
              </p:txBody>
            </p:sp>
          </p:grpSp>
          <p:grpSp>
            <p:nvGrpSpPr>
              <p:cNvPr id="144" name="Group 143">
                <a:extLst>
                  <a:ext uri="{FF2B5EF4-FFF2-40B4-BE49-F238E27FC236}">
                    <a16:creationId xmlns:a16="http://schemas.microsoft.com/office/drawing/2014/main" id="{311C3922-E381-1E47-91FB-D5CFA75E396A}"/>
                  </a:ext>
                </a:extLst>
              </p:cNvPr>
              <p:cNvGrpSpPr/>
              <p:nvPr/>
            </p:nvGrpSpPr>
            <p:grpSpPr>
              <a:xfrm>
                <a:off x="5890189" y="3736592"/>
                <a:ext cx="521811" cy="112437"/>
                <a:chOff x="5507566" y="3947588"/>
                <a:chExt cx="521811" cy="112437"/>
              </a:xfrm>
            </p:grpSpPr>
            <p:sp>
              <p:nvSpPr>
                <p:cNvPr id="30" name="Oval 382">
                  <a:extLst>
                    <a:ext uri="{FF2B5EF4-FFF2-40B4-BE49-F238E27FC236}">
                      <a16:creationId xmlns:a16="http://schemas.microsoft.com/office/drawing/2014/main" id="{20F949D9-5459-AA4B-BC75-A8B9912F98D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gray">
                <a:xfrm>
                  <a:off x="5507566" y="3947588"/>
                  <a:ext cx="54000" cy="52346"/>
                </a:xfrm>
                <a:prstGeom prst="ellipse">
                  <a:avLst/>
                </a:prstGeom>
                <a:solidFill>
                  <a:srgbClr val="0062FF"/>
                </a:solidFill>
                <a:ln w="317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defTabSz="2433310">
                    <a:buClr>
                      <a:srgbClr val="5B9BD5"/>
                    </a:buClr>
                  </a:pPr>
                  <a:endParaRPr lang="de-DE" sz="4259">
                    <a:latin typeface="IBM Plex Sans Light" panose="020B0403050203000203" pitchFamily="34" charset="0"/>
                  </a:endParaRPr>
                </a:p>
              </p:txBody>
            </p:sp>
            <p:sp>
              <p:nvSpPr>
                <p:cNvPr id="44" name="Rectangle 426">
                  <a:extLst>
                    <a:ext uri="{FF2B5EF4-FFF2-40B4-BE49-F238E27FC236}">
                      <a16:creationId xmlns:a16="http://schemas.microsoft.com/office/drawing/2014/main" id="{BCBC15D6-F1F8-CF41-8678-FF308CFF691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5551149" y="3953850"/>
                  <a:ext cx="478228" cy="10617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124541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defTabSz="2433310">
                    <a:buClr>
                      <a:srgbClr val="5B9BD5"/>
                    </a:buClr>
                  </a:pPr>
                  <a:r>
                    <a:rPr lang="de-DE" sz="2661" dirty="0">
                      <a:latin typeface="IBM Plex Sans Light" panose="020B0403050203000203" pitchFamily="34" charset="0"/>
                    </a:rPr>
                    <a:t>Munich</a:t>
                  </a:r>
                </a:p>
              </p:txBody>
            </p:sp>
          </p:grpSp>
          <p:grpSp>
            <p:nvGrpSpPr>
              <p:cNvPr id="140" name="Group 139">
                <a:extLst>
                  <a:ext uri="{FF2B5EF4-FFF2-40B4-BE49-F238E27FC236}">
                    <a16:creationId xmlns:a16="http://schemas.microsoft.com/office/drawing/2014/main" id="{BE9841AF-49B6-EF47-9EAD-A31BB9DFF611}"/>
                  </a:ext>
                </a:extLst>
              </p:cNvPr>
              <p:cNvGrpSpPr/>
              <p:nvPr/>
            </p:nvGrpSpPr>
            <p:grpSpPr>
              <a:xfrm>
                <a:off x="5106414" y="3332142"/>
                <a:ext cx="534199" cy="106175"/>
                <a:chOff x="4693975" y="3377071"/>
                <a:chExt cx="534199" cy="106175"/>
              </a:xfrm>
            </p:grpSpPr>
            <p:sp>
              <p:nvSpPr>
                <p:cNvPr id="29" name="Oval 382">
                  <a:extLst>
                    <a:ext uri="{FF2B5EF4-FFF2-40B4-BE49-F238E27FC236}">
                      <a16:creationId xmlns:a16="http://schemas.microsoft.com/office/drawing/2014/main" id="{67AD05EE-7A48-7142-A6B8-A7552852A4F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gray">
                <a:xfrm>
                  <a:off x="4693975" y="3408777"/>
                  <a:ext cx="54000" cy="52344"/>
                </a:xfrm>
                <a:prstGeom prst="ellipse">
                  <a:avLst/>
                </a:prstGeom>
                <a:solidFill>
                  <a:srgbClr val="0062FF"/>
                </a:solidFill>
                <a:ln w="317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defTabSz="2433310">
                    <a:buClr>
                      <a:srgbClr val="5B9BD5"/>
                    </a:buClr>
                  </a:pPr>
                  <a:endParaRPr lang="de-DE" sz="4259">
                    <a:latin typeface="IBM Plex Sans Light" panose="020B0403050203000203" pitchFamily="34" charset="0"/>
                  </a:endParaRPr>
                </a:p>
              </p:txBody>
            </p:sp>
            <p:sp>
              <p:nvSpPr>
                <p:cNvPr id="46" name="Rectangle 426">
                  <a:extLst>
                    <a:ext uri="{FF2B5EF4-FFF2-40B4-BE49-F238E27FC236}">
                      <a16:creationId xmlns:a16="http://schemas.microsoft.com/office/drawing/2014/main" id="{6E7E023C-575F-3F46-82DF-50D854FE6F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4749946" y="3377071"/>
                  <a:ext cx="478228" cy="10617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124541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defTabSz="2433310">
                    <a:buClr>
                      <a:srgbClr val="5B9BD5"/>
                    </a:buClr>
                  </a:pPr>
                  <a:r>
                    <a:rPr lang="de-DE" sz="2661" dirty="0">
                      <a:latin typeface="IBM Plex Sans Light" panose="020B0403050203000203" pitchFamily="34" charset="0"/>
                    </a:rPr>
                    <a:t>Boeblingen</a:t>
                  </a:r>
                </a:p>
              </p:txBody>
            </p:sp>
          </p:grpSp>
          <p:grpSp>
            <p:nvGrpSpPr>
              <p:cNvPr id="152" name="Group 151">
                <a:extLst>
                  <a:ext uri="{FF2B5EF4-FFF2-40B4-BE49-F238E27FC236}">
                    <a16:creationId xmlns:a16="http://schemas.microsoft.com/office/drawing/2014/main" id="{ED81ED71-F38C-B04C-A33E-3B32B29A3219}"/>
                  </a:ext>
                </a:extLst>
              </p:cNvPr>
              <p:cNvGrpSpPr/>
              <p:nvPr/>
            </p:nvGrpSpPr>
            <p:grpSpPr>
              <a:xfrm>
                <a:off x="3982194" y="4644309"/>
                <a:ext cx="547107" cy="106175"/>
                <a:chOff x="3492429" y="4493060"/>
                <a:chExt cx="547107" cy="106175"/>
              </a:xfrm>
            </p:grpSpPr>
            <p:sp>
              <p:nvSpPr>
                <p:cNvPr id="47" name="Oval 382">
                  <a:extLst>
                    <a:ext uri="{FF2B5EF4-FFF2-40B4-BE49-F238E27FC236}">
                      <a16:creationId xmlns:a16="http://schemas.microsoft.com/office/drawing/2014/main" id="{F6C9CF35-1597-A040-9201-B5E3C3A4A9C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gray">
                <a:xfrm>
                  <a:off x="3492429" y="4513566"/>
                  <a:ext cx="54000" cy="52344"/>
                </a:xfrm>
                <a:prstGeom prst="ellipse">
                  <a:avLst/>
                </a:prstGeom>
                <a:solidFill>
                  <a:srgbClr val="0062FF"/>
                </a:solidFill>
                <a:ln w="317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defTabSz="2433310">
                    <a:buClr>
                      <a:srgbClr val="5B9BD5"/>
                    </a:buClr>
                  </a:pPr>
                  <a:endParaRPr lang="de-DE" sz="2667">
                    <a:latin typeface="IBM Plex Sans Light" panose="020B0403050203000203" pitchFamily="34" charset="0"/>
                  </a:endParaRPr>
                </a:p>
              </p:txBody>
            </p:sp>
            <p:sp>
              <p:nvSpPr>
                <p:cNvPr id="53" name="Rectangle 426">
                  <a:extLst>
                    <a:ext uri="{FF2B5EF4-FFF2-40B4-BE49-F238E27FC236}">
                      <a16:creationId xmlns:a16="http://schemas.microsoft.com/office/drawing/2014/main" id="{35386E9D-3AB1-E54E-9DB5-312C4FBA7A5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3561308" y="4493060"/>
                  <a:ext cx="478228" cy="10617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124541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defTabSz="2433310">
                    <a:buClr>
                      <a:srgbClr val="5B9BD5"/>
                    </a:buClr>
                  </a:pPr>
                  <a:r>
                    <a:rPr lang="de-DE" sz="2667" dirty="0">
                      <a:latin typeface="IBM Plex Sans Light" panose="020B0403050203000203" pitchFamily="34" charset="0"/>
                    </a:rPr>
                    <a:t>Geneva</a:t>
                  </a:r>
                </a:p>
              </p:txBody>
            </p:sp>
          </p:grpSp>
          <p:grpSp>
            <p:nvGrpSpPr>
              <p:cNvPr id="151" name="Group 150">
                <a:extLst>
                  <a:ext uri="{FF2B5EF4-FFF2-40B4-BE49-F238E27FC236}">
                    <a16:creationId xmlns:a16="http://schemas.microsoft.com/office/drawing/2014/main" id="{73A5191B-E1AE-BB44-8447-0C40497E5A11}"/>
                  </a:ext>
                </a:extLst>
              </p:cNvPr>
              <p:cNvGrpSpPr/>
              <p:nvPr/>
            </p:nvGrpSpPr>
            <p:grpSpPr>
              <a:xfrm>
                <a:off x="4228954" y="4538636"/>
                <a:ext cx="544754" cy="106175"/>
                <a:chOff x="3673247" y="4410571"/>
                <a:chExt cx="544754" cy="106175"/>
              </a:xfrm>
            </p:grpSpPr>
            <p:sp>
              <p:nvSpPr>
                <p:cNvPr id="48" name="Oval 382">
                  <a:extLst>
                    <a:ext uri="{FF2B5EF4-FFF2-40B4-BE49-F238E27FC236}">
                      <a16:creationId xmlns:a16="http://schemas.microsoft.com/office/drawing/2014/main" id="{A9BB3BD9-7CFF-8E46-BAAA-D771A312F65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gray">
                <a:xfrm>
                  <a:off x="3673247" y="4431987"/>
                  <a:ext cx="54000" cy="52344"/>
                </a:xfrm>
                <a:prstGeom prst="ellipse">
                  <a:avLst/>
                </a:prstGeom>
                <a:solidFill>
                  <a:srgbClr val="0062FF"/>
                </a:solidFill>
                <a:ln w="317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defTabSz="2433310">
                    <a:buClr>
                      <a:srgbClr val="5B9BD5"/>
                    </a:buClr>
                  </a:pPr>
                  <a:endParaRPr lang="de-DE" sz="2667">
                    <a:latin typeface="IBM Plex Sans Light" panose="020B0403050203000203" pitchFamily="34" charset="0"/>
                  </a:endParaRPr>
                </a:p>
              </p:txBody>
            </p:sp>
            <p:sp>
              <p:nvSpPr>
                <p:cNvPr id="54" name="Rectangle 426">
                  <a:extLst>
                    <a:ext uri="{FF2B5EF4-FFF2-40B4-BE49-F238E27FC236}">
                      <a16:creationId xmlns:a16="http://schemas.microsoft.com/office/drawing/2014/main" id="{13682FE3-86AB-314A-97C8-911EA0D23FC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3739773" y="4410571"/>
                  <a:ext cx="478228" cy="10617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124541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defTabSz="2433310">
                    <a:buClr>
                      <a:srgbClr val="5B9BD5"/>
                    </a:buClr>
                  </a:pPr>
                  <a:r>
                    <a:rPr lang="de-DE" sz="2667" dirty="0">
                      <a:latin typeface="IBM Plex Sans Light" panose="020B0403050203000203" pitchFamily="34" charset="0"/>
                    </a:rPr>
                    <a:t>Lausanne</a:t>
                  </a:r>
                </a:p>
              </p:txBody>
            </p:sp>
          </p:grpSp>
          <p:grpSp>
            <p:nvGrpSpPr>
              <p:cNvPr id="145" name="Group 144">
                <a:extLst>
                  <a:ext uri="{FF2B5EF4-FFF2-40B4-BE49-F238E27FC236}">
                    <a16:creationId xmlns:a16="http://schemas.microsoft.com/office/drawing/2014/main" id="{9D38840A-855C-AA40-80C8-47B082BEFB61}"/>
                  </a:ext>
                </a:extLst>
              </p:cNvPr>
              <p:cNvGrpSpPr/>
              <p:nvPr/>
            </p:nvGrpSpPr>
            <p:grpSpPr>
              <a:xfrm>
                <a:off x="7259756" y="4232816"/>
                <a:ext cx="525351" cy="106175"/>
                <a:chOff x="6909962" y="4506596"/>
                <a:chExt cx="525351" cy="106175"/>
              </a:xfrm>
            </p:grpSpPr>
            <p:sp>
              <p:nvSpPr>
                <p:cNvPr id="60" name="Oval 382">
                  <a:extLst>
                    <a:ext uri="{FF2B5EF4-FFF2-40B4-BE49-F238E27FC236}">
                      <a16:creationId xmlns:a16="http://schemas.microsoft.com/office/drawing/2014/main" id="{8A075849-F55B-BD4D-A141-7873B9DAD79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gray">
                <a:xfrm>
                  <a:off x="6909962" y="4528816"/>
                  <a:ext cx="54000" cy="52344"/>
                </a:xfrm>
                <a:prstGeom prst="ellipse">
                  <a:avLst/>
                </a:prstGeom>
                <a:solidFill>
                  <a:srgbClr val="0062FF"/>
                </a:solidFill>
                <a:ln w="317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defTabSz="2433310">
                    <a:buClr>
                      <a:srgbClr val="5B9BD5"/>
                    </a:buClr>
                  </a:pPr>
                  <a:endParaRPr lang="de-DE" sz="2667">
                    <a:latin typeface="IBM Plex Sans Light" panose="020B0403050203000203" pitchFamily="34" charset="0"/>
                  </a:endParaRPr>
                </a:p>
              </p:txBody>
            </p:sp>
            <p:sp>
              <p:nvSpPr>
                <p:cNvPr id="65" name="Rectangle 426">
                  <a:extLst>
                    <a:ext uri="{FF2B5EF4-FFF2-40B4-BE49-F238E27FC236}">
                      <a16:creationId xmlns:a16="http://schemas.microsoft.com/office/drawing/2014/main" id="{B8F4C941-AF29-1E4C-BB76-4F69BF20878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6957085" y="4506596"/>
                  <a:ext cx="478228" cy="10617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124541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defTabSz="2433310">
                    <a:buClr>
                      <a:srgbClr val="5B9BD5"/>
                    </a:buClr>
                  </a:pPr>
                  <a:r>
                    <a:rPr lang="de-DE" sz="2667" dirty="0">
                      <a:latin typeface="IBM Plex Sans Light" panose="020B0403050203000203" pitchFamily="34" charset="0"/>
                    </a:rPr>
                    <a:t>Graz</a:t>
                  </a:r>
                </a:p>
              </p:txBody>
            </p:sp>
          </p:grpSp>
          <p:grpSp>
            <p:nvGrpSpPr>
              <p:cNvPr id="149" name="Group 148">
                <a:extLst>
                  <a:ext uri="{FF2B5EF4-FFF2-40B4-BE49-F238E27FC236}">
                    <a16:creationId xmlns:a16="http://schemas.microsoft.com/office/drawing/2014/main" id="{A003CB95-C77D-424A-8338-2AD41192FE05}"/>
                  </a:ext>
                </a:extLst>
              </p:cNvPr>
              <p:cNvGrpSpPr/>
              <p:nvPr/>
            </p:nvGrpSpPr>
            <p:grpSpPr>
              <a:xfrm>
                <a:off x="6845301" y="3539462"/>
                <a:ext cx="541042" cy="106175"/>
                <a:chOff x="6437824" y="3855892"/>
                <a:chExt cx="541042" cy="106175"/>
              </a:xfrm>
            </p:grpSpPr>
            <p:sp>
              <p:nvSpPr>
                <p:cNvPr id="59" name="Oval 382">
                  <a:extLst>
                    <a:ext uri="{FF2B5EF4-FFF2-40B4-BE49-F238E27FC236}">
                      <a16:creationId xmlns:a16="http://schemas.microsoft.com/office/drawing/2014/main" id="{7B2B695B-F141-4043-B4E0-C6E290B215A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gray">
                <a:xfrm>
                  <a:off x="6437824" y="3885056"/>
                  <a:ext cx="54000" cy="52344"/>
                </a:xfrm>
                <a:prstGeom prst="ellipse">
                  <a:avLst/>
                </a:prstGeom>
                <a:solidFill>
                  <a:srgbClr val="0062FF"/>
                </a:solidFill>
                <a:ln w="317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defTabSz="2433310">
                    <a:buClr>
                      <a:srgbClr val="5B9BD5"/>
                    </a:buClr>
                  </a:pPr>
                  <a:endParaRPr lang="de-DE" sz="2667">
                    <a:latin typeface="IBM Plex Sans Light" panose="020B0403050203000203" pitchFamily="34" charset="0"/>
                  </a:endParaRPr>
                </a:p>
              </p:txBody>
            </p:sp>
            <p:sp>
              <p:nvSpPr>
                <p:cNvPr id="68" name="Rectangle 426">
                  <a:extLst>
                    <a:ext uri="{FF2B5EF4-FFF2-40B4-BE49-F238E27FC236}">
                      <a16:creationId xmlns:a16="http://schemas.microsoft.com/office/drawing/2014/main" id="{0C78F71D-01E4-6542-868A-7B591E533FD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6500638" y="3855892"/>
                  <a:ext cx="478228" cy="10617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124541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defTabSz="2433310">
                    <a:buClr>
                      <a:srgbClr val="5B9BD5"/>
                    </a:buClr>
                  </a:pPr>
                  <a:r>
                    <a:rPr lang="de-DE" sz="2667" dirty="0">
                      <a:latin typeface="IBM Plex Sans Light" panose="020B0403050203000203" pitchFamily="34" charset="0"/>
                    </a:rPr>
                    <a:t>Linz</a:t>
                  </a:r>
                </a:p>
              </p:txBody>
            </p:sp>
          </p:grpSp>
          <p:grpSp>
            <p:nvGrpSpPr>
              <p:cNvPr id="129" name="Group 128">
                <a:extLst>
                  <a:ext uri="{FF2B5EF4-FFF2-40B4-BE49-F238E27FC236}">
                    <a16:creationId xmlns:a16="http://schemas.microsoft.com/office/drawing/2014/main" id="{9275A4C4-2C96-D14D-AC5F-31A40E9F8AD6}"/>
                  </a:ext>
                </a:extLst>
              </p:cNvPr>
              <p:cNvGrpSpPr/>
              <p:nvPr/>
            </p:nvGrpSpPr>
            <p:grpSpPr>
              <a:xfrm>
                <a:off x="5198256" y="234140"/>
                <a:ext cx="598028" cy="106175"/>
                <a:chOff x="5198256" y="234140"/>
                <a:chExt cx="598028" cy="106175"/>
              </a:xfrm>
            </p:grpSpPr>
            <p:sp>
              <p:nvSpPr>
                <p:cNvPr id="16" name="Oval 382">
                  <a:extLst>
                    <a:ext uri="{FF2B5EF4-FFF2-40B4-BE49-F238E27FC236}">
                      <a16:creationId xmlns:a16="http://schemas.microsoft.com/office/drawing/2014/main" id="{7C95A838-1B2B-684C-9D41-2D1B998B4B3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gray">
                <a:xfrm>
                  <a:off x="5198256" y="282744"/>
                  <a:ext cx="54000" cy="52346"/>
                </a:xfrm>
                <a:prstGeom prst="ellipse">
                  <a:avLst/>
                </a:prstGeom>
                <a:solidFill>
                  <a:srgbClr val="0062FF"/>
                </a:solidFill>
                <a:ln w="317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defTabSz="2433310">
                    <a:buClr>
                      <a:srgbClr val="5B9BD5"/>
                    </a:buClr>
                  </a:pPr>
                  <a:endParaRPr lang="de-DE" sz="4259">
                    <a:latin typeface="IBM Plex Sans Light" panose="020B0403050203000203" pitchFamily="34" charset="0"/>
                  </a:endParaRPr>
                </a:p>
              </p:txBody>
            </p:sp>
            <p:sp>
              <p:nvSpPr>
                <p:cNvPr id="69" name="Rectangle 426">
                  <a:extLst>
                    <a:ext uri="{FF2B5EF4-FFF2-40B4-BE49-F238E27FC236}">
                      <a16:creationId xmlns:a16="http://schemas.microsoft.com/office/drawing/2014/main" id="{C0525AF5-239F-C34E-95EB-0990710C66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5318056" y="234140"/>
                  <a:ext cx="478228" cy="10617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124541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defTabSz="2433310">
                    <a:buClr>
                      <a:srgbClr val="5B9BD5"/>
                    </a:buClr>
                  </a:pPr>
                  <a:r>
                    <a:rPr lang="de-DE" sz="2661" dirty="0">
                      <a:latin typeface="IBM Plex Sans Light" panose="020B0403050203000203" pitchFamily="34" charset="0"/>
                    </a:rPr>
                    <a:t>Flensburg</a:t>
                  </a:r>
                </a:p>
              </p:txBody>
            </p:sp>
          </p:grpSp>
          <p:grpSp>
            <p:nvGrpSpPr>
              <p:cNvPr id="155" name="Group 154">
                <a:extLst>
                  <a:ext uri="{FF2B5EF4-FFF2-40B4-BE49-F238E27FC236}">
                    <a16:creationId xmlns:a16="http://schemas.microsoft.com/office/drawing/2014/main" id="{EAAAA24B-33EC-3846-A99A-6AD332A37BAB}"/>
                  </a:ext>
                </a:extLst>
              </p:cNvPr>
              <p:cNvGrpSpPr/>
              <p:nvPr/>
            </p:nvGrpSpPr>
            <p:grpSpPr>
              <a:xfrm>
                <a:off x="4937597" y="4039691"/>
                <a:ext cx="453300" cy="106175"/>
                <a:chOff x="4779301" y="4037140"/>
                <a:chExt cx="453300" cy="106175"/>
              </a:xfrm>
            </p:grpSpPr>
            <p:sp>
              <p:nvSpPr>
                <p:cNvPr id="51" name="Rectangle 426">
                  <a:extLst>
                    <a:ext uri="{FF2B5EF4-FFF2-40B4-BE49-F238E27FC236}">
                      <a16:creationId xmlns:a16="http://schemas.microsoft.com/office/drawing/2014/main" id="{859B5EE9-3E16-3843-B124-CE4DAE5519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4836674" y="4037140"/>
                  <a:ext cx="395927" cy="10617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124541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defTabSz="2433310">
                    <a:buClr>
                      <a:srgbClr val="5B9BD5"/>
                    </a:buClr>
                  </a:pPr>
                  <a:r>
                    <a:rPr lang="de-DE" sz="2667" dirty="0">
                      <a:latin typeface="IBM Plex Sans Medm" panose="020B0503050203000203" pitchFamily="34" charset="0"/>
                    </a:rPr>
                    <a:t>Zurich</a:t>
                  </a:r>
                </a:p>
              </p:txBody>
            </p:sp>
            <p:sp>
              <p:nvSpPr>
                <p:cNvPr id="154" name="Oval 382">
                  <a:extLst>
                    <a:ext uri="{FF2B5EF4-FFF2-40B4-BE49-F238E27FC236}">
                      <a16:creationId xmlns:a16="http://schemas.microsoft.com/office/drawing/2014/main" id="{C156C8D6-C0C1-1D44-BF48-0572B147415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gray">
                <a:xfrm>
                  <a:off x="4779301" y="4064056"/>
                  <a:ext cx="54000" cy="52344"/>
                </a:xfrm>
                <a:prstGeom prst="ellipse">
                  <a:avLst/>
                </a:prstGeom>
                <a:solidFill>
                  <a:srgbClr val="0062FF"/>
                </a:solidFill>
                <a:ln w="317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defTabSz="2433310">
                    <a:buClr>
                      <a:srgbClr val="5B9BD5"/>
                    </a:buClr>
                  </a:pPr>
                  <a:endParaRPr lang="de-DE" sz="2667">
                    <a:latin typeface="IBM Plex Sans Light" panose="020B0403050203000203" pitchFamily="34" charset="0"/>
                  </a:endParaRPr>
                </a:p>
              </p:txBody>
            </p:sp>
          </p:grpSp>
          <p:grpSp>
            <p:nvGrpSpPr>
              <p:cNvPr id="156" name="Group 155">
                <a:extLst>
                  <a:ext uri="{FF2B5EF4-FFF2-40B4-BE49-F238E27FC236}">
                    <a16:creationId xmlns:a16="http://schemas.microsoft.com/office/drawing/2014/main" id="{27EEB73A-D75A-BE49-BAD2-2BE9A0EFBDEA}"/>
                  </a:ext>
                </a:extLst>
              </p:cNvPr>
              <p:cNvGrpSpPr/>
              <p:nvPr/>
            </p:nvGrpSpPr>
            <p:grpSpPr>
              <a:xfrm>
                <a:off x="5022402" y="3468123"/>
                <a:ext cx="453300" cy="106175"/>
                <a:chOff x="4779301" y="4037140"/>
                <a:chExt cx="453300" cy="106175"/>
              </a:xfrm>
            </p:grpSpPr>
            <p:sp>
              <p:nvSpPr>
                <p:cNvPr id="157" name="Rectangle 426">
                  <a:extLst>
                    <a:ext uri="{FF2B5EF4-FFF2-40B4-BE49-F238E27FC236}">
                      <a16:creationId xmlns:a16="http://schemas.microsoft.com/office/drawing/2014/main" id="{48CB5680-5923-2541-8066-CBF50A3797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4836674" y="4037140"/>
                  <a:ext cx="395927" cy="10617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124541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defTabSz="2433310">
                    <a:buClr>
                      <a:srgbClr val="5B9BD5"/>
                    </a:buClr>
                  </a:pPr>
                  <a:r>
                    <a:rPr lang="de-DE" sz="2667" dirty="0" err="1">
                      <a:latin typeface="IBM Plex Sans Medm" panose="020B0503050203000203" pitchFamily="34" charset="0"/>
                    </a:rPr>
                    <a:t>Ehningen</a:t>
                  </a:r>
                  <a:endParaRPr lang="de-DE" sz="2667" dirty="0">
                    <a:latin typeface="IBM Plex Sans Medm" panose="020B0503050203000203" pitchFamily="34" charset="0"/>
                  </a:endParaRPr>
                </a:p>
              </p:txBody>
            </p:sp>
            <p:sp>
              <p:nvSpPr>
                <p:cNvPr id="158" name="Oval 382">
                  <a:extLst>
                    <a:ext uri="{FF2B5EF4-FFF2-40B4-BE49-F238E27FC236}">
                      <a16:creationId xmlns:a16="http://schemas.microsoft.com/office/drawing/2014/main" id="{85EB469D-F3BF-EF4A-AF1D-01C4C8DD9CD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gray">
                <a:xfrm>
                  <a:off x="4779301" y="4064056"/>
                  <a:ext cx="54000" cy="52344"/>
                </a:xfrm>
                <a:prstGeom prst="ellipse">
                  <a:avLst/>
                </a:prstGeom>
                <a:solidFill>
                  <a:srgbClr val="0062FF"/>
                </a:solidFill>
                <a:ln w="317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defTabSz="2433310">
                    <a:buClr>
                      <a:srgbClr val="5B9BD5"/>
                    </a:buClr>
                  </a:pPr>
                  <a:endParaRPr lang="de-DE" sz="2667">
                    <a:latin typeface="IBM Plex Sans Light" panose="020B0403050203000203" pitchFamily="34" charset="0"/>
                  </a:endParaRPr>
                </a:p>
              </p:txBody>
            </p:sp>
          </p:grpSp>
          <p:grpSp>
            <p:nvGrpSpPr>
              <p:cNvPr id="159" name="Group 158">
                <a:extLst>
                  <a:ext uri="{FF2B5EF4-FFF2-40B4-BE49-F238E27FC236}">
                    <a16:creationId xmlns:a16="http://schemas.microsoft.com/office/drawing/2014/main" id="{C9D617AD-64B9-F140-B155-39BA39117331}"/>
                  </a:ext>
                </a:extLst>
              </p:cNvPr>
              <p:cNvGrpSpPr/>
              <p:nvPr/>
            </p:nvGrpSpPr>
            <p:grpSpPr>
              <a:xfrm>
                <a:off x="7601055" y="3547383"/>
                <a:ext cx="453300" cy="106175"/>
                <a:chOff x="4779301" y="4037140"/>
                <a:chExt cx="453300" cy="106175"/>
              </a:xfrm>
            </p:grpSpPr>
            <p:sp>
              <p:nvSpPr>
                <p:cNvPr id="160" name="Rectangle 426">
                  <a:extLst>
                    <a:ext uri="{FF2B5EF4-FFF2-40B4-BE49-F238E27FC236}">
                      <a16:creationId xmlns:a16="http://schemas.microsoft.com/office/drawing/2014/main" id="{3B54BD22-54DD-2C4B-A016-0FCAE4074DF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4836674" y="4037140"/>
                  <a:ext cx="395927" cy="10617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124541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defTabSz="2433310">
                    <a:buClr>
                      <a:srgbClr val="5B9BD5"/>
                    </a:buClr>
                  </a:pPr>
                  <a:r>
                    <a:rPr lang="de-DE" sz="2667" dirty="0">
                      <a:latin typeface="IBM Plex Sans Medm" panose="020B0503050203000203" pitchFamily="34" charset="0"/>
                    </a:rPr>
                    <a:t>Vienna</a:t>
                  </a:r>
                </a:p>
              </p:txBody>
            </p:sp>
            <p:sp>
              <p:nvSpPr>
                <p:cNvPr id="161" name="Oval 382">
                  <a:extLst>
                    <a:ext uri="{FF2B5EF4-FFF2-40B4-BE49-F238E27FC236}">
                      <a16:creationId xmlns:a16="http://schemas.microsoft.com/office/drawing/2014/main" id="{B88E5490-6B0E-424F-8A62-E18E08CD21E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gray">
                <a:xfrm>
                  <a:off x="4779301" y="4064056"/>
                  <a:ext cx="54000" cy="52344"/>
                </a:xfrm>
                <a:prstGeom prst="ellipse">
                  <a:avLst/>
                </a:prstGeom>
                <a:solidFill>
                  <a:srgbClr val="0062FF"/>
                </a:solidFill>
                <a:ln w="317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defTabSz="2433310">
                    <a:buClr>
                      <a:srgbClr val="5B9BD5"/>
                    </a:buClr>
                  </a:pPr>
                  <a:endParaRPr lang="de-DE" sz="2667">
                    <a:latin typeface="IBM Plex Sans Light" panose="020B0403050203000203" pitchFamily="34" charset="0"/>
                  </a:endParaRPr>
                </a:p>
              </p:txBody>
            </p:sp>
          </p:grpSp>
        </p:grpSp>
      </p:grpSp>
      <p:sp>
        <p:nvSpPr>
          <p:cNvPr id="7" name="Rectangle 426">
            <a:extLst>
              <a:ext uri="{FF2B5EF4-FFF2-40B4-BE49-F238E27FC236}">
                <a16:creationId xmlns:a16="http://schemas.microsoft.com/office/drawing/2014/main" id="{42932007-1026-6784-7B08-BC545AB75BF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881314" y="2713043"/>
            <a:ext cx="2745736" cy="3486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4541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2433310">
              <a:buClr>
                <a:srgbClr val="5B9BD5"/>
              </a:buClr>
            </a:pPr>
            <a:r>
              <a:rPr lang="de-DE" sz="2661" dirty="0">
                <a:latin typeface="IBM Plex Sans Light" panose="020B0403050203000203" pitchFamily="34" charset="0"/>
              </a:rPr>
              <a:t>Wilhelmshaven </a:t>
            </a:r>
          </a:p>
        </p:txBody>
      </p:sp>
      <p:sp>
        <p:nvSpPr>
          <p:cNvPr id="11" name="Rectangle 426">
            <a:extLst>
              <a:ext uri="{FF2B5EF4-FFF2-40B4-BE49-F238E27FC236}">
                <a16:creationId xmlns:a16="http://schemas.microsoft.com/office/drawing/2014/main" id="{7CD5B75E-F403-D460-AE2D-F9F488401417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260138" y="10386832"/>
            <a:ext cx="2745736" cy="3486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4541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2433310">
              <a:buClr>
                <a:srgbClr val="5B9BD5"/>
              </a:buClr>
            </a:pPr>
            <a:r>
              <a:rPr lang="de-DE" sz="2661" dirty="0">
                <a:latin typeface="IBM Plex Sans Light" panose="020B0403050203000203" pitchFamily="34" charset="0"/>
              </a:rPr>
              <a:t>Salzburg</a:t>
            </a:r>
            <a:r>
              <a:rPr lang="de-DE" sz="2661" dirty="0">
                <a:solidFill>
                  <a:srgbClr val="FF0000"/>
                </a:solidFill>
                <a:latin typeface="IBM Plex Sans Light" panose="020B0403050203000203" pitchFamily="34" charset="0"/>
              </a:rPr>
              <a:t> </a:t>
            </a:r>
          </a:p>
        </p:txBody>
      </p:sp>
      <p:sp>
        <p:nvSpPr>
          <p:cNvPr id="12" name="Rectangle 426">
            <a:extLst>
              <a:ext uri="{FF2B5EF4-FFF2-40B4-BE49-F238E27FC236}">
                <a16:creationId xmlns:a16="http://schemas.microsoft.com/office/drawing/2014/main" id="{5AFFA72D-2D81-50AD-DA6A-7CF7C8BDB0A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9997172" y="9645749"/>
            <a:ext cx="2745736" cy="3486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4541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2433310">
              <a:buClr>
                <a:srgbClr val="5B9BD5"/>
              </a:buClr>
            </a:pPr>
            <a:r>
              <a:rPr lang="de-DE" sz="2661" dirty="0">
                <a:latin typeface="IBM Plex Sans Light" panose="020B0403050203000203" pitchFamily="34" charset="0"/>
              </a:rPr>
              <a:t>Wels</a:t>
            </a:r>
          </a:p>
        </p:txBody>
      </p:sp>
      <p:sp>
        <p:nvSpPr>
          <p:cNvPr id="21" name="Oval 382">
            <a:extLst>
              <a:ext uri="{FF2B5EF4-FFF2-40B4-BE49-F238E27FC236}">
                <a16:creationId xmlns:a16="http://schemas.microsoft.com/office/drawing/2014/main" id="{42465ABA-00DF-8953-5487-034F2AE7DCF0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4781755" y="2823301"/>
            <a:ext cx="144000" cy="139584"/>
          </a:xfrm>
          <a:prstGeom prst="ellipse">
            <a:avLst/>
          </a:prstGeom>
          <a:solidFill>
            <a:srgbClr val="0062FF"/>
          </a:solidFill>
          <a:ln w="3175" algn="ctr">
            <a:noFill/>
            <a:round/>
            <a:headEnd/>
            <a:tailEnd/>
          </a:ln>
          <a:effectLst/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2433310">
              <a:buClr>
                <a:srgbClr val="5B9BD5"/>
              </a:buClr>
            </a:pPr>
            <a:endParaRPr lang="de-DE" sz="4259" dirty="0">
              <a:latin typeface="IBM Plex Sans Light" panose="020B0403050203000203" pitchFamily="34" charset="0"/>
            </a:endParaRPr>
          </a:p>
        </p:txBody>
      </p:sp>
      <p:sp>
        <p:nvSpPr>
          <p:cNvPr id="28" name="Oval 382">
            <a:extLst>
              <a:ext uri="{FF2B5EF4-FFF2-40B4-BE49-F238E27FC236}">
                <a16:creationId xmlns:a16="http://schemas.microsoft.com/office/drawing/2014/main" id="{421B0021-E427-79DD-5F98-682FD1AFC5C0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9873710" y="9684288"/>
            <a:ext cx="144000" cy="139584"/>
          </a:xfrm>
          <a:prstGeom prst="ellipse">
            <a:avLst/>
          </a:prstGeom>
          <a:solidFill>
            <a:srgbClr val="0062FF"/>
          </a:solidFill>
          <a:ln w="3175" algn="ctr">
            <a:noFill/>
            <a:round/>
            <a:headEnd/>
            <a:tailEnd/>
          </a:ln>
          <a:effectLst/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2433310">
              <a:buClr>
                <a:srgbClr val="5B9BD5"/>
              </a:buClr>
            </a:pPr>
            <a:endParaRPr lang="de-DE" sz="4259" dirty="0">
              <a:latin typeface="IBM Plex Sans Light" panose="020B0403050203000203" pitchFamily="34" charset="0"/>
            </a:endParaRPr>
          </a:p>
        </p:txBody>
      </p:sp>
      <p:sp>
        <p:nvSpPr>
          <p:cNvPr id="45" name="Oval 382">
            <a:extLst>
              <a:ext uri="{FF2B5EF4-FFF2-40B4-BE49-F238E27FC236}">
                <a16:creationId xmlns:a16="http://schemas.microsoft.com/office/drawing/2014/main" id="{D3BAE99E-B95C-6CF0-B3F7-CA8E1B13BAF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20160579" y="10473184"/>
            <a:ext cx="144000" cy="139584"/>
          </a:xfrm>
          <a:prstGeom prst="ellipse">
            <a:avLst/>
          </a:prstGeom>
          <a:solidFill>
            <a:srgbClr val="0062FF"/>
          </a:solidFill>
          <a:ln w="3175" algn="ctr">
            <a:noFill/>
            <a:round/>
            <a:headEnd/>
            <a:tailEnd/>
          </a:ln>
          <a:effectLst/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2433310">
              <a:buClr>
                <a:srgbClr val="5B9BD5"/>
              </a:buClr>
            </a:pPr>
            <a:endParaRPr lang="de-DE" sz="4259" dirty="0">
              <a:latin typeface="IBM Plex Sans Light" panose="020B0403050203000203" pitchFamily="34" charset="0"/>
            </a:endParaRPr>
          </a:p>
        </p:txBody>
      </p:sp>
      <p:sp>
        <p:nvSpPr>
          <p:cNvPr id="57" name="Rectangle 426">
            <a:extLst>
              <a:ext uri="{FF2B5EF4-FFF2-40B4-BE49-F238E27FC236}">
                <a16:creationId xmlns:a16="http://schemas.microsoft.com/office/drawing/2014/main" id="{F9D8F215-242B-E9CC-98C1-AC6311A2116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36366" y="11094165"/>
            <a:ext cx="1825691" cy="3089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4541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2433310">
              <a:buClr>
                <a:srgbClr val="5B9BD5"/>
              </a:buClr>
            </a:pPr>
            <a:r>
              <a:rPr lang="de-DE" sz="2667" dirty="0">
                <a:latin typeface="IBM Plex Sans Light" panose="020B0403050203000203" pitchFamily="34" charset="0"/>
              </a:rPr>
              <a:t>Rueschlikon </a:t>
            </a:r>
          </a:p>
        </p:txBody>
      </p:sp>
      <p:sp>
        <p:nvSpPr>
          <p:cNvPr id="58" name="Oval 382">
            <a:extLst>
              <a:ext uri="{FF2B5EF4-FFF2-40B4-BE49-F238E27FC236}">
                <a16:creationId xmlns:a16="http://schemas.microsoft.com/office/drawing/2014/main" id="{E8E293FF-FEDF-E721-A350-C2B2CE6F8CC5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5726843" y="11169371"/>
            <a:ext cx="144000" cy="139584"/>
          </a:xfrm>
          <a:prstGeom prst="ellipse">
            <a:avLst/>
          </a:prstGeom>
          <a:solidFill>
            <a:srgbClr val="0062FF"/>
          </a:solidFill>
          <a:ln w="3175" algn="ctr">
            <a:noFill/>
            <a:round/>
            <a:headEnd/>
            <a:tailEnd/>
          </a:ln>
          <a:effectLst/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2433310">
              <a:buClr>
                <a:srgbClr val="5B9BD5"/>
              </a:buClr>
            </a:pPr>
            <a:endParaRPr lang="de-DE" sz="4259">
              <a:latin typeface="IBM Plex Sans Light" panose="020B0403050203000203" pitchFamily="34" charset="0"/>
            </a:endParaRPr>
          </a:p>
        </p:txBody>
      </p:sp>
      <p:sp>
        <p:nvSpPr>
          <p:cNvPr id="61" name="Rectangle 426">
            <a:extLst>
              <a:ext uri="{FF2B5EF4-FFF2-40B4-BE49-F238E27FC236}">
                <a16:creationId xmlns:a16="http://schemas.microsoft.com/office/drawing/2014/main" id="{D91CE2E1-682E-95BD-89F9-5C9E804E779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518880" y="11392915"/>
            <a:ext cx="1825691" cy="3089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4541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2433310">
              <a:buClr>
                <a:srgbClr val="5B9BD5"/>
              </a:buClr>
            </a:pPr>
            <a:r>
              <a:rPr lang="de-DE" sz="2667" dirty="0">
                <a:latin typeface="IBM Plex Sans Light" panose="020B0403050203000203" pitchFamily="34" charset="0"/>
              </a:rPr>
              <a:t>Bern</a:t>
            </a:r>
            <a:r>
              <a:rPr lang="de-DE" sz="2667" dirty="0">
                <a:solidFill>
                  <a:srgbClr val="FF0000"/>
                </a:solidFill>
                <a:latin typeface="IBM Plex Sans Light" panose="020B0403050203000203" pitchFamily="34" charset="0"/>
              </a:rPr>
              <a:t> </a:t>
            </a:r>
          </a:p>
        </p:txBody>
      </p:sp>
      <p:sp>
        <p:nvSpPr>
          <p:cNvPr id="62" name="Oval 382">
            <a:extLst>
              <a:ext uri="{FF2B5EF4-FFF2-40B4-BE49-F238E27FC236}">
                <a16:creationId xmlns:a16="http://schemas.microsoft.com/office/drawing/2014/main" id="{6F146195-2F64-3FC4-21C6-C7265EAB771A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4385488" y="11363365"/>
            <a:ext cx="144000" cy="139584"/>
          </a:xfrm>
          <a:prstGeom prst="ellipse">
            <a:avLst/>
          </a:prstGeom>
          <a:solidFill>
            <a:srgbClr val="0062FF"/>
          </a:solidFill>
          <a:ln w="3175" algn="ctr">
            <a:noFill/>
            <a:round/>
            <a:headEnd/>
            <a:tailEnd/>
          </a:ln>
          <a:effectLst/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2433310">
              <a:buClr>
                <a:srgbClr val="5B9BD5"/>
              </a:buClr>
            </a:pPr>
            <a:endParaRPr lang="de-DE" sz="4259">
              <a:latin typeface="IBM Plex Sans Light" panose="020B0403050203000203" pitchFamily="34" charset="0"/>
            </a:endParaRPr>
          </a:p>
        </p:txBody>
      </p:sp>
      <p:sp>
        <p:nvSpPr>
          <p:cNvPr id="63" name="Rectangle 426">
            <a:extLst>
              <a:ext uri="{FF2B5EF4-FFF2-40B4-BE49-F238E27FC236}">
                <a16:creationId xmlns:a16="http://schemas.microsoft.com/office/drawing/2014/main" id="{1998E23F-15CE-0495-42C4-103BD1B05F5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901990" y="12669120"/>
            <a:ext cx="1825691" cy="3089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4541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2433310">
              <a:buClr>
                <a:srgbClr val="5B9BD5"/>
              </a:buClr>
            </a:pPr>
            <a:r>
              <a:rPr lang="de-DE" sz="2667" dirty="0">
                <a:latin typeface="IBM Plex Sans Light" panose="020B0403050203000203" pitchFamily="34" charset="0"/>
              </a:rPr>
              <a:t>Lugano </a:t>
            </a:r>
          </a:p>
        </p:txBody>
      </p:sp>
      <p:sp>
        <p:nvSpPr>
          <p:cNvPr id="64" name="Oval 382">
            <a:extLst>
              <a:ext uri="{FF2B5EF4-FFF2-40B4-BE49-F238E27FC236}">
                <a16:creationId xmlns:a16="http://schemas.microsoft.com/office/drawing/2014/main" id="{4E0687A4-ABC9-495C-763D-4F5EE6B1B666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5798843" y="12753080"/>
            <a:ext cx="144000" cy="139584"/>
          </a:xfrm>
          <a:prstGeom prst="ellipse">
            <a:avLst/>
          </a:prstGeom>
          <a:solidFill>
            <a:srgbClr val="0062FF"/>
          </a:solidFill>
          <a:ln w="3175" algn="ctr">
            <a:noFill/>
            <a:round/>
            <a:headEnd/>
            <a:tailEnd/>
          </a:ln>
          <a:effectLst/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2433310">
              <a:buClr>
                <a:srgbClr val="5B9BD5"/>
              </a:buClr>
            </a:pPr>
            <a:endParaRPr lang="de-DE" sz="4259">
              <a:latin typeface="IBM Plex Sans Light" panose="020B0403050203000203" pitchFamily="34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9985483-BB8C-2143-AF90-108AD4CC711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887050" y="14893"/>
            <a:ext cx="1403653" cy="2244437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A123BE-57C9-04E5-22E6-4ED62A988958}"/>
              </a:ext>
            </a:extLst>
          </p:cNvPr>
          <p:cNvSpPr txBox="1">
            <a:spLocks/>
          </p:cNvSpPr>
          <p:nvPr/>
        </p:nvSpPr>
        <p:spPr>
          <a:xfrm>
            <a:off x="575997" y="12800826"/>
            <a:ext cx="7152860" cy="3809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IBM @ Q-Hack 24 / © 2024 IBM Corporation</a:t>
            </a:r>
          </a:p>
        </p:txBody>
      </p:sp>
      <p:sp>
        <p:nvSpPr>
          <p:cNvPr id="6" name="Slide Number Placeholder 9">
            <a:extLst>
              <a:ext uri="{FF2B5EF4-FFF2-40B4-BE49-F238E27FC236}">
                <a16:creationId xmlns:a16="http://schemas.microsoft.com/office/drawing/2014/main" id="{DBFA4B9E-16FB-EE03-5A07-118C7F789C43}"/>
              </a:ext>
            </a:extLst>
          </p:cNvPr>
          <p:cNvSpPr txBox="1">
            <a:spLocks/>
          </p:cNvSpPr>
          <p:nvPr/>
        </p:nvSpPr>
        <p:spPr>
          <a:xfrm>
            <a:off x="23421475" y="12889286"/>
            <a:ext cx="438276" cy="31644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9196"/>
            <a:fld id="{86CB4B4D-7CA3-9044-876B-883B54F8677D}" type="slidenum">
              <a:rPr lang="en-US" sz="1600">
                <a:solidFill>
                  <a:srgbClr val="000000"/>
                </a:solidFill>
                <a:latin typeface="IBM Plex Sans" panose="020B0503050203000203" pitchFamily="34" charset="0"/>
              </a:rPr>
              <a:pPr defTabSz="1829196"/>
              <a:t>5</a:t>
            </a:fld>
            <a:endParaRPr lang="en-US" sz="1600" dirty="0">
              <a:solidFill>
                <a:srgbClr val="000000"/>
              </a:solidFill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583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sky with white clouds&#10;&#10;Description automatically generated">
            <a:extLst>
              <a:ext uri="{FF2B5EF4-FFF2-40B4-BE49-F238E27FC236}">
                <a16:creationId xmlns:a16="http://schemas.microsoft.com/office/drawing/2014/main" id="{821C483F-32CB-0A3F-F12D-F5CEC3DC3E7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3649" r="51097"/>
          <a:stretch/>
        </p:blipFill>
        <p:spPr>
          <a:xfrm>
            <a:off x="17824097" y="1715169"/>
            <a:ext cx="800373" cy="10972145"/>
          </a:xfrm>
          <a:prstGeom prst="rect">
            <a:avLst/>
          </a:prstGeom>
        </p:spPr>
      </p:pic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59708ED-B8ED-D0C4-0CB3-49F1D3BEFEC3}"/>
              </a:ext>
            </a:extLst>
          </p:cNvPr>
          <p:cNvSpPr txBox="1">
            <a:spLocks/>
          </p:cNvSpPr>
          <p:nvPr/>
        </p:nvSpPr>
        <p:spPr>
          <a:xfrm>
            <a:off x="600486" y="3047330"/>
            <a:ext cx="4950768" cy="119846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>
            <a:lvl1pPr marL="0" marR="0" indent="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1pPr>
            <a:lvl2pPr marL="182880" marR="0" indent="-18288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2pPr>
            <a:lvl3pPr marL="365760" marR="0" indent="-18288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3pPr>
            <a:lvl4pPr marL="548640" marR="0" indent="-18288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4pPr>
            <a:lvl5pPr marL="1143000" marR="0" indent="-45720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r>
              <a:rPr lang="en-US" sz="3600" kern="0" dirty="0">
                <a:solidFill>
                  <a:srgbClr val="0F62FE"/>
                </a:solidFill>
              </a:rPr>
              <a:t>1</a:t>
            </a:r>
          </a:p>
          <a:p>
            <a:r>
              <a:rPr lang="en-US" sz="3600" kern="0" dirty="0"/>
              <a:t>Extreme Blue</a:t>
            </a:r>
          </a:p>
          <a:p>
            <a:endParaRPr lang="en-US" sz="3600" kern="0" dirty="0"/>
          </a:p>
          <a:p>
            <a:endParaRPr lang="en-US" sz="3600" kern="0" dirty="0"/>
          </a:p>
          <a:p>
            <a:endParaRPr lang="en-US" sz="3600" kern="0" dirty="0"/>
          </a:p>
          <a:p>
            <a:endParaRPr lang="en-US" sz="3600" kern="0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BA01BC0C-8BBD-EC53-72F4-9526CE7AC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997" y="576072"/>
            <a:ext cx="16289528" cy="1525588"/>
          </a:xfrm>
        </p:spPr>
        <p:txBody>
          <a:bodyPr/>
          <a:lstStyle/>
          <a:p>
            <a:r>
              <a:rPr lang="en-US" sz="6000" kern="1200" dirty="0">
                <a:solidFill>
                  <a:schemeClr val="accent1"/>
                </a:solidFill>
                <a:latin typeface="IBM Plex Sans Light"/>
              </a:rPr>
              <a:t>Start your career @ IBM</a:t>
            </a:r>
            <a:endParaRPr lang="de-DE" sz="6000" kern="1200" dirty="0">
              <a:solidFill>
                <a:schemeClr val="accent1"/>
              </a:solidFill>
              <a:latin typeface="IBM Plex Sans Light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CF8F300-9E51-89E4-B80A-57B345909651}"/>
              </a:ext>
            </a:extLst>
          </p:cNvPr>
          <p:cNvSpPr txBox="1">
            <a:spLocks/>
          </p:cNvSpPr>
          <p:nvPr/>
        </p:nvSpPr>
        <p:spPr>
          <a:xfrm>
            <a:off x="495315" y="1477776"/>
            <a:ext cx="10099675" cy="571500"/>
          </a:xfrm>
          <a:prstGeom prst="rect">
            <a:avLst/>
          </a:prstGeom>
        </p:spPr>
        <p:txBody>
          <a:bodyPr/>
          <a:lstStyle>
            <a:lvl1pPr marL="0" marR="0" indent="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329184" marR="0" indent="-329184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58368" marR="0" indent="-329184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87552" marR="0" indent="-329184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143000" marR="0" indent="-457200" algn="l" defTabSz="2438400" rtl="0" eaLnBrk="1" latinLnBrk="0" hangingPunct="1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r>
              <a:rPr lang="en-US" kern="0" dirty="0"/>
              <a:t>Non-graduate and graduate opportunities</a:t>
            </a:r>
            <a:endParaRPr lang="en-US" kern="0" dirty="0">
              <a:solidFill>
                <a:schemeClr val="accent1"/>
              </a:solidFill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AEFBA931-DCA3-547B-CCA7-0CD0522E066E}"/>
              </a:ext>
            </a:extLst>
          </p:cNvPr>
          <p:cNvSpPr txBox="1">
            <a:spLocks/>
          </p:cNvSpPr>
          <p:nvPr/>
        </p:nvSpPr>
        <p:spPr>
          <a:xfrm>
            <a:off x="575997" y="12800826"/>
            <a:ext cx="7152860" cy="3809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IBM @ Q-Hack 24 / © 2024 IBM Corporation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99F2C1AE-BB40-E260-EA9A-164A61602DF0}"/>
              </a:ext>
            </a:extLst>
          </p:cNvPr>
          <p:cNvSpPr txBox="1">
            <a:spLocks/>
          </p:cNvSpPr>
          <p:nvPr/>
        </p:nvSpPr>
        <p:spPr>
          <a:xfrm>
            <a:off x="6529629" y="2997070"/>
            <a:ext cx="4941477" cy="12487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>
            <a:lvl1pPr marL="0" marR="0" indent="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1pPr>
            <a:lvl2pPr marL="182880" marR="0" indent="-18288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2pPr>
            <a:lvl3pPr marL="365760" marR="0" indent="-18288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3pPr>
            <a:lvl4pPr marL="548640" marR="0" indent="-18288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4pPr>
            <a:lvl5pPr marL="1143000" marR="0" indent="-45720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r>
              <a:rPr lang="en-US" sz="3600" kern="0" dirty="0">
                <a:solidFill>
                  <a:srgbClr val="0F62FE"/>
                </a:solidFill>
              </a:rPr>
              <a:t>2</a:t>
            </a:r>
          </a:p>
          <a:p>
            <a:r>
              <a:rPr lang="en-US" sz="3600" kern="0" dirty="0"/>
              <a:t>Master @ IBM</a:t>
            </a:r>
          </a:p>
          <a:p>
            <a:endParaRPr lang="en-US" sz="3600" kern="0" dirty="0"/>
          </a:p>
          <a:p>
            <a:endParaRPr lang="en-US" sz="3600" kern="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4E2E798-630E-96C7-BAC0-CE317712E3BD}"/>
              </a:ext>
            </a:extLst>
          </p:cNvPr>
          <p:cNvSpPr txBox="1"/>
          <p:nvPr/>
        </p:nvSpPr>
        <p:spPr>
          <a:xfrm>
            <a:off x="6556483" y="4245798"/>
            <a:ext cx="5220000" cy="7920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rtlCol="0">
            <a:noAutofit/>
          </a:bodyPr>
          <a:lstStyle/>
          <a:p>
            <a:r>
              <a:rPr lang="en-US" sz="2800" dirty="0">
                <a:solidFill>
                  <a:schemeClr val="accent1"/>
                </a:solidFill>
              </a:rPr>
              <a:t>Combine work experience with your studies (Part-time Master or work-study model)</a:t>
            </a:r>
          </a:p>
          <a:p>
            <a:pPr marL="761980" indent="-761980"/>
            <a:endParaRPr lang="en-US" sz="2800" dirty="0">
              <a:solidFill>
                <a:schemeClr val="accent1"/>
              </a:solidFill>
            </a:endParaRPr>
          </a:p>
          <a:p>
            <a:r>
              <a:rPr lang="en-US" sz="2800" b="1" dirty="0"/>
              <a:t>Duration</a:t>
            </a:r>
            <a:r>
              <a:rPr lang="en-US" sz="2800" dirty="0"/>
              <a:t>: 12-30 months </a:t>
            </a:r>
          </a:p>
          <a:p>
            <a:endParaRPr lang="en-US" sz="2800" dirty="0"/>
          </a:p>
          <a:p>
            <a:r>
              <a:rPr lang="en-US" sz="2800" b="1" dirty="0"/>
              <a:t>Roles</a:t>
            </a:r>
            <a:r>
              <a:rPr lang="en-US" sz="2800" dirty="0"/>
              <a:t>: Various (Sales, </a:t>
            </a:r>
            <a:r>
              <a:rPr lang="en-US" sz="2800" dirty="0" err="1"/>
              <a:t>TechSales</a:t>
            </a:r>
            <a:r>
              <a:rPr lang="en-US" sz="2800" dirty="0"/>
              <a:t>, Consulting, Exec. Assistants…)</a:t>
            </a:r>
            <a:br>
              <a:rPr lang="en-US" sz="2800" dirty="0"/>
            </a:br>
            <a:endParaRPr lang="en-US" sz="2800" dirty="0"/>
          </a:p>
          <a:p>
            <a:r>
              <a:rPr lang="en-US" sz="2800" dirty="0"/>
              <a:t>Working time: 38h /week </a:t>
            </a:r>
            <a:br>
              <a:rPr lang="en-US" sz="2800" dirty="0"/>
            </a:br>
            <a:r>
              <a:rPr lang="en-US" sz="2800" dirty="0"/>
              <a:t>(incl. 10h for studies)</a:t>
            </a:r>
          </a:p>
          <a:p>
            <a:pPr marL="761980" indent="-761980"/>
            <a:endParaRPr lang="en-US" sz="2800" dirty="0"/>
          </a:p>
          <a:p>
            <a:pPr marL="761980" indent="-761980"/>
            <a:r>
              <a:rPr lang="en-US" sz="2800" dirty="0"/>
              <a:t>Fixed monthly salary + Travel</a:t>
            </a:r>
          </a:p>
          <a:p>
            <a:pPr marL="761980" indent="-761980"/>
            <a:r>
              <a:rPr lang="en-US" sz="2800" dirty="0"/>
              <a:t>expenses for university&lt;&gt;IBM</a:t>
            </a:r>
          </a:p>
          <a:p>
            <a:pPr marL="761980" indent="-761980"/>
            <a:r>
              <a:rPr lang="en-US" sz="2800" dirty="0"/>
              <a:t>and tuition fees/semester fees</a:t>
            </a:r>
          </a:p>
          <a:p>
            <a:pPr marL="761980" indent="-761980"/>
            <a:r>
              <a:rPr lang="en-US" sz="2800" dirty="0"/>
              <a:t>Covered (ESB, Hector School,</a:t>
            </a:r>
          </a:p>
          <a:p>
            <a:pPr marL="761980" indent="-761980"/>
            <a:r>
              <a:rPr lang="en-US" sz="2800" dirty="0"/>
              <a:t>HHL)</a:t>
            </a:r>
          </a:p>
          <a:p>
            <a:pPr marL="761980" indent="-761980"/>
            <a:endParaRPr lang="en-US" sz="2800" dirty="0"/>
          </a:p>
          <a:p>
            <a:pPr marL="761980" indent="-761980"/>
            <a:endParaRPr lang="en-US" sz="3200" dirty="0">
              <a:solidFill>
                <a:schemeClr val="accent1"/>
              </a:solidFill>
            </a:endParaRPr>
          </a:p>
          <a:p>
            <a:pPr marL="761980" indent="-761980"/>
            <a:endParaRPr lang="en-US" sz="3200" dirty="0"/>
          </a:p>
          <a:p>
            <a:pPr marL="0" marR="0" lvl="0" indent="0" algn="l" defTabSz="243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32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  <a:sym typeface="IBM Plex Sans Light"/>
            </a:endParaRP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4B78B51-7F03-F1B5-143C-093E67E72352}"/>
              </a:ext>
            </a:extLst>
          </p:cNvPr>
          <p:cNvSpPr txBox="1">
            <a:spLocks/>
          </p:cNvSpPr>
          <p:nvPr/>
        </p:nvSpPr>
        <p:spPr>
          <a:xfrm>
            <a:off x="12535310" y="2997070"/>
            <a:ext cx="4941477" cy="10779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>
            <a:lvl1pPr marL="0" marR="0" indent="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1pPr>
            <a:lvl2pPr marL="182880" marR="0" indent="-18288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2pPr>
            <a:lvl3pPr marL="365760" marR="0" indent="-18288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3pPr>
            <a:lvl4pPr marL="548640" marR="0" indent="-18288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4pPr>
            <a:lvl5pPr marL="1143000" marR="0" indent="-45720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r>
              <a:rPr lang="en-US" sz="3600" kern="0" dirty="0">
                <a:solidFill>
                  <a:srgbClr val="0F62FE"/>
                </a:solidFill>
              </a:rPr>
              <a:t>3</a:t>
            </a:r>
          </a:p>
          <a:p>
            <a:r>
              <a:rPr lang="en-US" sz="3600" kern="0" dirty="0"/>
              <a:t>Jumpstart</a:t>
            </a:r>
          </a:p>
          <a:p>
            <a:endParaRPr lang="en-US" sz="3600" kern="0" dirty="0"/>
          </a:p>
          <a:p>
            <a:endParaRPr lang="en-US" sz="3600" kern="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37E2C7C-D698-F388-F842-9BE5D22A8F63}"/>
              </a:ext>
            </a:extLst>
          </p:cNvPr>
          <p:cNvSpPr txBox="1"/>
          <p:nvPr/>
        </p:nvSpPr>
        <p:spPr>
          <a:xfrm>
            <a:off x="12562164" y="4245798"/>
            <a:ext cx="5220000" cy="9000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rtlCol="0">
            <a:noAutofit/>
          </a:bodyPr>
          <a:lstStyle/>
          <a:p>
            <a:r>
              <a:rPr lang="en-US" sz="2800" dirty="0">
                <a:solidFill>
                  <a:schemeClr val="accent1"/>
                </a:solidFill>
              </a:rPr>
              <a:t>Jumpstart is part of the Associate Program - a program for career starters in IT</a:t>
            </a:r>
          </a:p>
          <a:p>
            <a:endParaRPr lang="en-US" sz="2800" dirty="0"/>
          </a:p>
          <a:p>
            <a:pPr marR="0" lvl="0" algn="l" defTabSz="243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IBM Plex Sans Light"/>
              </a:rPr>
              <a:t>Duration</a:t>
            </a:r>
            <a:r>
              <a:rPr kumimoji="0" lang="en-US" sz="2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IBM Plex Sans Light"/>
              </a:rPr>
              <a:t>: 6 weeks</a:t>
            </a:r>
            <a:br>
              <a:rPr kumimoji="0" lang="en-US" sz="2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IBM Plex Sans Light"/>
              </a:rPr>
            </a:br>
            <a:br>
              <a:rPr kumimoji="0" lang="en-US" sz="2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IBM Plex Sans Light"/>
              </a:rPr>
            </a:br>
            <a:r>
              <a:rPr kumimoji="0" lang="en-US" sz="28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IBM Plex Sans Light"/>
              </a:rPr>
              <a:t>Target</a:t>
            </a:r>
            <a:r>
              <a:rPr kumimoji="0" lang="en-US" sz="2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IBM Plex Sans Light"/>
              </a:rPr>
              <a:t>: Start at your first client project in the field of data &amp; AI immediately after completion.</a:t>
            </a:r>
            <a:br>
              <a:rPr kumimoji="0" lang="en-US" sz="2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IBM Plex Sans Light"/>
              </a:rPr>
            </a:br>
            <a:endParaRPr kumimoji="0" lang="en-US" sz="28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IBM Plex Sans Light"/>
            </a:endParaRPr>
          </a:p>
          <a:p>
            <a:pPr marR="0" lvl="0" algn="l" defTabSz="243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IBM Plex Sans Light"/>
              </a:rPr>
              <a:t>Intensive training in the areas of data engineering, data warehouse, ETL, AI as well as cloud computing and Scrum.</a:t>
            </a:r>
            <a:endParaRPr lang="en-US" sz="2800" kern="0" dirty="0">
              <a:solidFill>
                <a:srgbClr val="000000"/>
              </a:solidFill>
              <a:sym typeface="IBM Plex Sans Light"/>
            </a:endParaRPr>
          </a:p>
          <a:p>
            <a:pPr indent="-761980"/>
            <a:endParaRPr lang="en-US" sz="2800" dirty="0"/>
          </a:p>
          <a:p>
            <a:pPr indent="-761980"/>
            <a:r>
              <a:rPr lang="en-US" sz="2800" dirty="0"/>
              <a:t>Permanent position with</a:t>
            </a:r>
          </a:p>
          <a:p>
            <a:pPr indent="-761980"/>
            <a:r>
              <a:rPr lang="en-US" sz="2800" dirty="0"/>
              <a:t>unlimited employment</a:t>
            </a:r>
          </a:p>
          <a:p>
            <a:pPr indent="-761980"/>
            <a:r>
              <a:rPr lang="en-US" sz="2800" dirty="0"/>
              <a:t>Contract from day one.</a:t>
            </a:r>
            <a:endParaRPr lang="en-US" sz="2800" kern="0" dirty="0">
              <a:solidFill>
                <a:srgbClr val="000000"/>
              </a:solidFill>
              <a:sym typeface="IBM Plex Sans Light"/>
            </a:endParaRPr>
          </a:p>
          <a:p>
            <a:pPr marR="0" lvl="0" algn="l" defTabSz="243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IBM Plex Sans Light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6BF47F7-CAB0-C67B-658E-4A1D55DEB8D8}"/>
              </a:ext>
            </a:extLst>
          </p:cNvPr>
          <p:cNvSpPr txBox="1"/>
          <p:nvPr/>
        </p:nvSpPr>
        <p:spPr>
          <a:xfrm>
            <a:off x="18631316" y="4245797"/>
            <a:ext cx="5220000" cy="9000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indent="-761980"/>
            <a:r>
              <a:rPr lang="en-US" sz="2800" dirty="0">
                <a:solidFill>
                  <a:schemeClr val="accent1"/>
                </a:solidFill>
              </a:rPr>
              <a:t>Early Professional- / Trainee</a:t>
            </a:r>
          </a:p>
          <a:p>
            <a:pPr indent="-761980"/>
            <a:r>
              <a:rPr lang="en-US" sz="2800" dirty="0">
                <a:solidFill>
                  <a:schemeClr val="accent1"/>
                </a:solidFill>
              </a:rPr>
              <a:t>Program in IBM Consulting</a:t>
            </a:r>
          </a:p>
          <a:p>
            <a:pPr indent="-761980"/>
            <a:endParaRPr lang="en-US" sz="3200" dirty="0"/>
          </a:p>
          <a:p>
            <a:pPr indent="-761980"/>
            <a:endParaRPr lang="en-US" sz="2800" dirty="0"/>
          </a:p>
          <a:p>
            <a:pPr indent="-761980"/>
            <a:r>
              <a:rPr lang="en-US" sz="2800" b="1" dirty="0"/>
              <a:t>Duration</a:t>
            </a:r>
            <a:r>
              <a:rPr lang="en-US" sz="2800" dirty="0"/>
              <a:t>: 2 years</a:t>
            </a:r>
          </a:p>
          <a:p>
            <a:pPr indent="-761980"/>
            <a:br>
              <a:rPr lang="en-US" sz="2800" dirty="0"/>
            </a:br>
            <a:r>
              <a:rPr lang="en-US" sz="2800" b="1" dirty="0"/>
              <a:t>Roles</a:t>
            </a:r>
            <a:r>
              <a:rPr lang="en-US" sz="2800" dirty="0"/>
              <a:t>: Consultant, Data Scientist, Designer…</a:t>
            </a:r>
          </a:p>
          <a:p>
            <a:pPr indent="-761980"/>
            <a:endParaRPr lang="en-US" sz="2800" b="1" dirty="0"/>
          </a:p>
          <a:p>
            <a:pPr indent="-761980"/>
            <a:r>
              <a:rPr lang="en-US" sz="2800" b="1" dirty="0"/>
              <a:t>Target</a:t>
            </a:r>
            <a:r>
              <a:rPr lang="en-US" sz="2800" dirty="0"/>
              <a:t>: Clear alignment of</a:t>
            </a:r>
          </a:p>
          <a:p>
            <a:pPr indent="-761980"/>
            <a:r>
              <a:rPr lang="en-US" sz="2800" dirty="0"/>
              <a:t>skills through specific</a:t>
            </a:r>
          </a:p>
          <a:p>
            <a:pPr indent="-761980"/>
            <a:r>
              <a:rPr lang="en-US" sz="2800" dirty="0"/>
              <a:t>career plan</a:t>
            </a:r>
          </a:p>
          <a:p>
            <a:pPr indent="-761980"/>
            <a:endParaRPr lang="en-US" sz="2800" dirty="0"/>
          </a:p>
          <a:p>
            <a:pPr indent="-761980"/>
            <a:r>
              <a:rPr lang="en-US" sz="2800" dirty="0"/>
              <a:t>Hired into one of three job</a:t>
            </a:r>
          </a:p>
          <a:p>
            <a:pPr indent="-761980"/>
            <a:r>
              <a:rPr lang="en-US" sz="2800" dirty="0"/>
              <a:t>roles with a specific career pathway and opportunities.</a:t>
            </a:r>
          </a:p>
          <a:p>
            <a:pPr indent="-761980"/>
            <a:endParaRPr lang="en-US" sz="2800" dirty="0"/>
          </a:p>
          <a:p>
            <a:pPr indent="-761980"/>
            <a:r>
              <a:rPr lang="en-US" sz="2800" dirty="0"/>
              <a:t>Permanent position with</a:t>
            </a:r>
          </a:p>
          <a:p>
            <a:pPr indent="-761980"/>
            <a:r>
              <a:rPr lang="en-US" sz="2800" dirty="0"/>
              <a:t>unlimited employment</a:t>
            </a:r>
          </a:p>
          <a:p>
            <a:pPr indent="-761980"/>
            <a:r>
              <a:rPr lang="en-US" sz="2800" dirty="0"/>
              <a:t>Contract from day one.</a:t>
            </a:r>
          </a:p>
          <a:p>
            <a:pPr marR="0" lvl="0" indent="0" algn="l" defTabSz="243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32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  <a:sym typeface="IBM Plex Sans Light"/>
            </a:endParaRP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05CC512B-003C-4357-71D0-D656257770CC}"/>
              </a:ext>
            </a:extLst>
          </p:cNvPr>
          <p:cNvSpPr txBox="1">
            <a:spLocks/>
          </p:cNvSpPr>
          <p:nvPr/>
        </p:nvSpPr>
        <p:spPr>
          <a:xfrm>
            <a:off x="18682175" y="3036628"/>
            <a:ext cx="4941477" cy="12091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>
            <a:lvl1pPr marL="0" marR="0" indent="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1pPr>
            <a:lvl2pPr marL="182880" marR="0" indent="-18288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2pPr>
            <a:lvl3pPr marL="365760" marR="0" indent="-18288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3pPr>
            <a:lvl4pPr marL="548640" marR="0" indent="-18288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4pPr>
            <a:lvl5pPr marL="1143000" marR="0" indent="-45720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r>
              <a:rPr lang="en-US" sz="3600" kern="0" dirty="0">
                <a:solidFill>
                  <a:srgbClr val="0F62FE"/>
                </a:solidFill>
              </a:rPr>
              <a:t>4</a:t>
            </a:r>
          </a:p>
          <a:p>
            <a:r>
              <a:rPr lang="en-US" sz="3600" kern="0" dirty="0"/>
              <a:t>Associate Program</a:t>
            </a:r>
          </a:p>
          <a:p>
            <a:endParaRPr lang="en-US" sz="3600" kern="0" dirty="0"/>
          </a:p>
          <a:p>
            <a:endParaRPr lang="en-US" sz="3600" kern="0" dirty="0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2C95815-AE42-5432-34DC-2F9E07F3C94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887050" y="14893"/>
            <a:ext cx="1403653" cy="2244437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AC9EF860-A9B0-3F95-2C08-B4C45488406E}"/>
              </a:ext>
            </a:extLst>
          </p:cNvPr>
          <p:cNvSpPr txBox="1"/>
          <p:nvPr/>
        </p:nvSpPr>
        <p:spPr>
          <a:xfrm>
            <a:off x="612483" y="4245798"/>
            <a:ext cx="5220000" cy="7920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marL="761980" indent="-761980"/>
            <a:r>
              <a:rPr lang="en-US" sz="2800" dirty="0">
                <a:solidFill>
                  <a:schemeClr val="accent1"/>
                </a:solidFill>
              </a:rPr>
              <a:t>IBM‘s best-in-class summer</a:t>
            </a:r>
          </a:p>
          <a:p>
            <a:pPr marL="761980" indent="-761980"/>
            <a:r>
              <a:rPr lang="en-US" sz="2800" dirty="0">
                <a:solidFill>
                  <a:schemeClr val="accent1"/>
                </a:solidFill>
              </a:rPr>
              <a:t>internship program for </a:t>
            </a:r>
          </a:p>
          <a:p>
            <a:pPr marL="761980" indent="-761980"/>
            <a:r>
              <a:rPr lang="en-US" sz="2800" dirty="0">
                <a:solidFill>
                  <a:schemeClr val="accent1"/>
                </a:solidFill>
              </a:rPr>
              <a:t>top talents </a:t>
            </a:r>
            <a:endParaRPr lang="en-US" sz="2800" dirty="0"/>
          </a:p>
          <a:p>
            <a:pPr marL="0" marR="0" lvl="0" indent="0" algn="l" defTabSz="243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lang="en-US" sz="2800" kern="0" dirty="0">
              <a:solidFill>
                <a:srgbClr val="000000"/>
              </a:solidFill>
              <a:sym typeface="IBM Plex Sans Light"/>
            </a:endParaRPr>
          </a:p>
          <a:p>
            <a:pPr marL="0" marR="0" lvl="0" indent="0" algn="l" defTabSz="243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2800" b="1" kern="0" dirty="0">
                <a:solidFill>
                  <a:srgbClr val="000000"/>
                </a:solidFill>
                <a:sym typeface="IBM Plex Sans Light"/>
              </a:rPr>
              <a:t>Duration</a:t>
            </a:r>
            <a:r>
              <a:rPr lang="en-US" sz="2800" kern="0" dirty="0">
                <a:solidFill>
                  <a:srgbClr val="000000"/>
                </a:solidFill>
                <a:sym typeface="IBM Plex Sans Light"/>
              </a:rPr>
              <a:t>: 12 weeks</a:t>
            </a:r>
          </a:p>
          <a:p>
            <a:pPr defTabSz="2438400">
              <a:buSzPct val="100000"/>
              <a:defRPr/>
            </a:pPr>
            <a:br>
              <a:rPr lang="en-US" sz="2800" kern="0" dirty="0">
                <a:solidFill>
                  <a:srgbClr val="000000"/>
                </a:solidFill>
                <a:sym typeface="IBM Plex Sans Light"/>
              </a:rPr>
            </a:br>
            <a:r>
              <a:rPr lang="en-US" sz="2800" b="1" kern="0" dirty="0">
                <a:solidFill>
                  <a:srgbClr val="000000"/>
                </a:solidFill>
                <a:sym typeface="IBM Plex Sans Light"/>
              </a:rPr>
              <a:t>Roles</a:t>
            </a:r>
            <a:r>
              <a:rPr lang="en-US" sz="2800" kern="0" dirty="0">
                <a:solidFill>
                  <a:srgbClr val="000000"/>
                </a:solidFill>
                <a:sym typeface="IBM Plex Sans Light"/>
              </a:rPr>
              <a:t>: </a:t>
            </a:r>
            <a:r>
              <a:rPr lang="en-US" sz="2800" kern="0" dirty="0" err="1">
                <a:solidFill>
                  <a:srgbClr val="000000"/>
                </a:solidFill>
                <a:sym typeface="IBM Plex Sans Light"/>
              </a:rPr>
              <a:t>GenAI</a:t>
            </a:r>
            <a:r>
              <a:rPr lang="en-US" sz="2800" kern="0" dirty="0">
                <a:solidFill>
                  <a:srgbClr val="000000"/>
                </a:solidFill>
                <a:sym typeface="IBM Plex Sans Light"/>
              </a:rPr>
              <a:t> Consultant and </a:t>
            </a:r>
            <a:br>
              <a:rPr lang="en-US" sz="2800" kern="0" dirty="0">
                <a:solidFill>
                  <a:srgbClr val="000000"/>
                </a:solidFill>
                <a:sym typeface="IBM Plex Sans Light"/>
              </a:rPr>
            </a:br>
            <a:r>
              <a:rPr lang="en-US" sz="2800" kern="0" dirty="0">
                <a:solidFill>
                  <a:srgbClr val="000000"/>
                </a:solidFill>
                <a:sym typeface="IBM Plex Sans Light"/>
              </a:rPr>
              <a:t>Data Scientist</a:t>
            </a:r>
          </a:p>
          <a:p>
            <a:pPr defTabSz="2438400">
              <a:buSzPct val="100000"/>
              <a:defRPr/>
            </a:pPr>
            <a:endParaRPr lang="en-US" sz="2800" kern="0" dirty="0">
              <a:solidFill>
                <a:srgbClr val="000000"/>
              </a:solidFill>
              <a:sym typeface="IBM Plex Sans Light"/>
            </a:endParaRPr>
          </a:p>
          <a:p>
            <a:pPr defTabSz="2438400">
              <a:buSzPct val="100000"/>
              <a:defRPr/>
            </a:pPr>
            <a:r>
              <a:rPr lang="en-US" sz="2800" b="1" kern="0" dirty="0">
                <a:solidFill>
                  <a:srgbClr val="000000"/>
                </a:solidFill>
                <a:sym typeface="IBM Plex Sans Light"/>
              </a:rPr>
              <a:t>Target</a:t>
            </a:r>
            <a:r>
              <a:rPr lang="en-US" sz="2800" kern="0" dirty="0">
                <a:solidFill>
                  <a:srgbClr val="000000"/>
                </a:solidFill>
                <a:sym typeface="IBM Plex Sans Light"/>
              </a:rPr>
              <a:t>: Develop a use case in an interdisciplinary team coached by experienced IBM AI experts. </a:t>
            </a:r>
          </a:p>
          <a:p>
            <a:pPr defTabSz="2438400">
              <a:buSzPct val="100000"/>
              <a:defRPr/>
            </a:pPr>
            <a:endParaRPr lang="en-US" sz="2800" kern="0" dirty="0">
              <a:solidFill>
                <a:srgbClr val="000000"/>
              </a:solidFill>
              <a:sym typeface="IBM Plex Sans Light"/>
            </a:endParaRPr>
          </a:p>
          <a:p>
            <a:pPr defTabSz="2438400">
              <a:buSzPct val="100000"/>
              <a:defRPr/>
            </a:pPr>
            <a:r>
              <a:rPr lang="en-US" sz="2800" kern="0" dirty="0">
                <a:solidFill>
                  <a:srgbClr val="000000"/>
                </a:solidFill>
                <a:sym typeface="IBM Plex Sans Light"/>
              </a:rPr>
              <a:t>Design the solution, develop a prototype and pitch it to business users.</a:t>
            </a:r>
          </a:p>
          <a:p>
            <a:pPr defTabSz="2438400">
              <a:buSzPct val="100000"/>
              <a:defRPr/>
            </a:pPr>
            <a:endParaRPr lang="en-US" sz="2800" kern="0" dirty="0">
              <a:solidFill>
                <a:srgbClr val="000000"/>
              </a:solidFill>
              <a:sym typeface="IBM Plex Sans Light"/>
            </a:endParaRPr>
          </a:p>
          <a:p>
            <a:pPr defTabSz="2438400">
              <a:buSzPct val="100000"/>
              <a:defRPr/>
            </a:pPr>
            <a:r>
              <a:rPr lang="en-US" sz="2800" kern="0" dirty="0">
                <a:solidFill>
                  <a:srgbClr val="000000"/>
                </a:solidFill>
                <a:sym typeface="IBM Plex Sans Light"/>
              </a:rPr>
              <a:t>A fixed salary for the duration of the contract.</a:t>
            </a:r>
          </a:p>
          <a:p>
            <a:pPr defTabSz="2438400">
              <a:buSzPct val="100000"/>
              <a:defRPr/>
            </a:pPr>
            <a:r>
              <a:rPr lang="en-US" sz="2800" kern="0" dirty="0">
                <a:solidFill>
                  <a:srgbClr val="000000"/>
                </a:solidFill>
                <a:sym typeface="IBM Plex Sans Light"/>
              </a:rPr>
              <a:t> </a:t>
            </a:r>
            <a:endParaRPr kumimoji="0" lang="en-US" sz="28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IBM Plex Sans Light"/>
            </a:endParaRPr>
          </a:p>
        </p:txBody>
      </p:sp>
      <p:sp>
        <p:nvSpPr>
          <p:cNvPr id="3" name="Slide Number Placeholder 9">
            <a:extLst>
              <a:ext uri="{FF2B5EF4-FFF2-40B4-BE49-F238E27FC236}">
                <a16:creationId xmlns:a16="http://schemas.microsoft.com/office/drawing/2014/main" id="{AB2F4C02-8EBD-917A-EF2F-EBE155AF4AEC}"/>
              </a:ext>
            </a:extLst>
          </p:cNvPr>
          <p:cNvSpPr txBox="1">
            <a:spLocks/>
          </p:cNvSpPr>
          <p:nvPr/>
        </p:nvSpPr>
        <p:spPr>
          <a:xfrm>
            <a:off x="23421475" y="12889286"/>
            <a:ext cx="438276" cy="31644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9196"/>
            <a:fld id="{86CB4B4D-7CA3-9044-876B-883B54F8677D}" type="slidenum">
              <a:rPr lang="en-US" sz="1600">
                <a:solidFill>
                  <a:srgbClr val="000000"/>
                </a:solidFill>
                <a:latin typeface="IBM Plex Sans" panose="020B0503050203000203" pitchFamily="34" charset="0"/>
              </a:rPr>
              <a:pPr defTabSz="1829196"/>
              <a:t>6</a:t>
            </a:fld>
            <a:endParaRPr lang="en-US" sz="1600" dirty="0">
              <a:solidFill>
                <a:srgbClr val="000000"/>
              </a:solidFill>
              <a:latin typeface="IBM Plex Sans" panose="020B0503050203000203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9EE9A2A-AFE8-29CF-F9AF-42A2E5AB60B2}"/>
              </a:ext>
            </a:extLst>
          </p:cNvPr>
          <p:cNvSpPr txBox="1"/>
          <p:nvPr/>
        </p:nvSpPr>
        <p:spPr>
          <a:xfrm>
            <a:off x="12148457" y="5617029"/>
            <a:ext cx="0" cy="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rtlCol="0">
            <a:noAutofit/>
          </a:bodyPr>
          <a:lstStyle/>
          <a:p>
            <a:pPr marL="444465" indent="-446749" algn="l" defTabSz="2438400">
              <a:spcBef>
                <a:spcPts val="2900"/>
              </a:spcBef>
              <a:buSzPct val="100000"/>
              <a:buFontTx/>
              <a:buChar char="–"/>
            </a:pPr>
            <a:endParaRPr lang="de-DE" kern="0" dirty="0">
              <a:solidFill>
                <a:srgbClr val="000000"/>
              </a:solidFill>
              <a:ea typeface="+mj-ea"/>
              <a:cs typeface="+mj-cs"/>
              <a:sym typeface="IBM Plex Sans Light"/>
            </a:endParaRPr>
          </a:p>
        </p:txBody>
      </p:sp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F9265698-0CA7-B4E8-1AFA-D035E27F8308}"/>
              </a:ext>
            </a:extLst>
          </p:cNvPr>
          <p:cNvCxnSpPr/>
          <p:nvPr/>
        </p:nvCxnSpPr>
        <p:spPr bwMode="auto">
          <a:xfrm>
            <a:off x="18203383" y="3499945"/>
            <a:ext cx="0" cy="859547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5653045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5">
            <a:extLst>
              <a:ext uri="{FF2B5EF4-FFF2-40B4-BE49-F238E27FC236}">
                <a16:creationId xmlns:a16="http://schemas.microsoft.com/office/drawing/2014/main" id="{1B1825E2-3634-D973-8722-6F75884DF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974" y="308466"/>
            <a:ext cx="24384000" cy="4020768"/>
          </a:xfrm>
        </p:spPr>
        <p:txBody>
          <a:bodyPr/>
          <a:lstStyle/>
          <a:p>
            <a:br>
              <a:rPr lang="de-DE" sz="6000" dirty="0">
                <a:solidFill>
                  <a:schemeClr val="accent1"/>
                </a:solidFill>
              </a:rPr>
            </a:br>
            <a:endParaRPr lang="de-DE" sz="4800" b="1" dirty="0">
              <a:solidFill>
                <a:schemeClr val="tx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F901D57C-BC67-60A6-3979-3896C0D2976D}"/>
              </a:ext>
            </a:extLst>
          </p:cNvPr>
          <p:cNvSpPr txBox="1"/>
          <p:nvPr/>
        </p:nvSpPr>
        <p:spPr>
          <a:xfrm>
            <a:off x="14989532" y="248578"/>
            <a:ext cx="8906669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dirty="0">
                <a:latin typeface="IBM Plex Sans Light" panose="020B0403050203000203" pitchFamily="34" charset="0"/>
                <a:ea typeface="IBM Plex Sans" charset="0"/>
                <a:cs typeface="IBM Plex Sans" charset="0"/>
              </a:rPr>
              <a:t>free for students and teachers,</a:t>
            </a:r>
          </a:p>
          <a:p>
            <a:pPr algn="r"/>
            <a:r>
              <a:rPr lang="en-US" dirty="0">
                <a:latin typeface="IBM Plex Sans Light" panose="020B0403050203000203" pitchFamily="34" charset="0"/>
                <a:ea typeface="IBM Plex Sans" charset="0"/>
                <a:cs typeface="IBM Plex Sans" charset="0"/>
              </a:rPr>
              <a:t>just register with your university e-mail at:</a:t>
            </a:r>
            <a:br>
              <a:rPr lang="en-US" dirty="0">
                <a:latin typeface="IBM Plex Sans Light" panose="020B0403050203000203" pitchFamily="34" charset="0"/>
                <a:ea typeface="IBM Plex Sans" charset="0"/>
                <a:cs typeface="IBM Plex Sans" charset="0"/>
              </a:rPr>
            </a:br>
            <a:br>
              <a:rPr lang="en-US" dirty="0">
                <a:latin typeface="IBM Plex Sans Light" panose="020B0403050203000203" pitchFamily="34" charset="0"/>
                <a:ea typeface="IBM Plex Sans" charset="0"/>
                <a:cs typeface="IBM Plex Sans" charset="0"/>
              </a:rPr>
            </a:br>
            <a:r>
              <a:rPr lang="de-DE" dirty="0" err="1">
                <a:solidFill>
                  <a:schemeClr val="accent1"/>
                </a:solidFill>
                <a:latin typeface="IBM Plex Sans Light" panose="020B0403050203000203" pitchFamily="34" charset="0"/>
              </a:rPr>
              <a:t>ibm.com</a:t>
            </a:r>
            <a:r>
              <a:rPr lang="de-DE" dirty="0">
                <a:solidFill>
                  <a:schemeClr val="accent1"/>
                </a:solidFill>
                <a:latin typeface="IBM Plex Sans Light" panose="020B0403050203000203" pitchFamily="34" charset="0"/>
              </a:rPr>
              <a:t>/</a:t>
            </a:r>
            <a:r>
              <a:rPr lang="de-DE" dirty="0" err="1">
                <a:solidFill>
                  <a:schemeClr val="accent1"/>
                </a:solidFill>
                <a:latin typeface="IBM Plex Sans Light" panose="020B0403050203000203" pitchFamily="34" charset="0"/>
              </a:rPr>
              <a:t>academic</a:t>
            </a:r>
            <a:endParaRPr lang="en-US" dirty="0">
              <a:solidFill>
                <a:schemeClr val="accent1"/>
              </a:solidFill>
              <a:latin typeface="IBM Plex Sans Light" panose="020B0403050203000203" pitchFamily="34" charset="0"/>
              <a:ea typeface="IBM Plex Sans" charset="0"/>
              <a:cs typeface="IBM Plex Sans" charset="0"/>
            </a:endParaRP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C13B2369-260A-AFC7-F03A-497E051513BD}"/>
              </a:ext>
            </a:extLst>
          </p:cNvPr>
          <p:cNvSpPr txBox="1">
            <a:spLocks/>
          </p:cNvSpPr>
          <p:nvPr/>
        </p:nvSpPr>
        <p:spPr>
          <a:xfrm>
            <a:off x="472064" y="4751366"/>
            <a:ext cx="5062648" cy="7063647"/>
          </a:xfrm>
          <a:prstGeom prst="rect">
            <a:avLst/>
          </a:prstGeom>
        </p:spPr>
        <p:txBody>
          <a:bodyPr/>
          <a:lstStyle>
            <a:lvl1pPr marL="0" marR="0" indent="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329184" marR="0" indent="-329184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58368" marR="0" indent="-329184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87552" marR="0" indent="-329184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143000" marR="0" indent="-457200" algn="l" defTabSz="2438400" rtl="0" eaLnBrk="1" latinLnBrk="0" hangingPunct="1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defTabSz="1828823">
              <a:lnSpc>
                <a:spcPct val="95000"/>
              </a:lnSpc>
              <a:spcAft>
                <a:spcPts val="267"/>
              </a:spcAft>
            </a:pPr>
            <a:r>
              <a:rPr lang="en-US" altLang="ja-JP" sz="4267" b="1" kern="0" noProof="1">
                <a:solidFill>
                  <a:schemeClr val="accent1"/>
                </a:solidFill>
                <a:latin typeface="IBM Plex Sans"/>
                <a:ea typeface="SimSun" charset="-122"/>
              </a:rPr>
              <a:t>Cloud Services</a:t>
            </a:r>
          </a:p>
          <a:p>
            <a:r>
              <a:rPr lang="en-US" sz="3200" kern="0" noProof="1">
                <a:latin typeface="+mn-lt"/>
              </a:rPr>
              <a:t>Watson Assistant</a:t>
            </a:r>
          </a:p>
          <a:p>
            <a:r>
              <a:rPr lang="en-US" sz="3200" kern="0" noProof="1">
                <a:latin typeface="+mn-lt"/>
              </a:rPr>
              <a:t>Natural Language Understanding</a:t>
            </a:r>
          </a:p>
          <a:p>
            <a:r>
              <a:rPr lang="en-US" sz="3200" kern="0" noProof="1">
                <a:latin typeface="+mn-lt"/>
              </a:rPr>
              <a:t>Visual Recognition</a:t>
            </a:r>
          </a:p>
          <a:p>
            <a:endParaRPr lang="en-US" sz="3200" kern="0" noProof="1">
              <a:latin typeface="+mn-lt"/>
            </a:endParaRPr>
          </a:p>
          <a:p>
            <a:r>
              <a:rPr lang="de-DE" sz="3200" kern="0" dirty="0">
                <a:latin typeface="+mn-lt"/>
              </a:rPr>
              <a:t>…. and </a:t>
            </a:r>
            <a:r>
              <a:rPr lang="de-DE" sz="3200" kern="0" dirty="0" err="1">
                <a:latin typeface="+mn-lt"/>
              </a:rPr>
              <a:t>much</a:t>
            </a:r>
            <a:r>
              <a:rPr lang="de-DE" sz="3200" kern="0" dirty="0">
                <a:latin typeface="+mn-lt"/>
              </a:rPr>
              <a:t> </a:t>
            </a:r>
            <a:r>
              <a:rPr lang="de-DE" sz="3200" kern="0" dirty="0" err="1">
                <a:latin typeface="+mn-lt"/>
              </a:rPr>
              <a:t>more</a:t>
            </a:r>
            <a:r>
              <a:rPr lang="de-DE" sz="3200" kern="0" dirty="0">
                <a:latin typeface="+mn-lt"/>
              </a:rPr>
              <a:t>.</a:t>
            </a:r>
          </a:p>
          <a:p>
            <a:endParaRPr lang="en-US" sz="3200" kern="0" noProof="1">
              <a:latin typeface="+mn-lt"/>
            </a:endParaRPr>
          </a:p>
          <a:p>
            <a:endParaRPr lang="en-US" kern="0" noProof="1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56310AA8-E4DA-FD52-FECF-AEC4E6027C8F}"/>
              </a:ext>
            </a:extLst>
          </p:cNvPr>
          <p:cNvSpPr txBox="1">
            <a:spLocks/>
          </p:cNvSpPr>
          <p:nvPr/>
        </p:nvSpPr>
        <p:spPr>
          <a:xfrm>
            <a:off x="6513485" y="4751366"/>
            <a:ext cx="5689597" cy="75208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>
            <a:lvl1pPr marL="0" marR="0" indent="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1pPr>
            <a:lvl2pPr marL="182880" marR="0" indent="-18288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2pPr>
            <a:lvl3pPr marL="365760" marR="0" indent="-18288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3pPr>
            <a:lvl4pPr marL="548640" marR="0" indent="-18288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4pPr>
            <a:lvl5pPr marL="1143000" marR="0" indent="-45720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IBM Plex Sans" panose="020B0503050203000203" pitchFamily="34" charset="0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defTabSz="1828823">
              <a:lnSpc>
                <a:spcPct val="95000"/>
              </a:lnSpc>
              <a:spcAft>
                <a:spcPts val="267"/>
              </a:spcAft>
            </a:pPr>
            <a:r>
              <a:rPr lang="de-DE" altLang="ja-JP" sz="4267" b="1" kern="0" dirty="0">
                <a:solidFill>
                  <a:schemeClr val="accent1"/>
                </a:solidFill>
                <a:latin typeface="IBM Plex Sans"/>
                <a:ea typeface="SimSun" charset="-122"/>
              </a:rPr>
              <a:t>Software</a:t>
            </a:r>
          </a:p>
          <a:p>
            <a:r>
              <a:rPr lang="de-DE" sz="3200" kern="0" dirty="0">
                <a:latin typeface="+mn-lt"/>
              </a:rPr>
              <a:t>SPSS </a:t>
            </a:r>
            <a:r>
              <a:rPr lang="de-DE" sz="3200" kern="0" dirty="0" err="1">
                <a:latin typeface="+mn-lt"/>
              </a:rPr>
              <a:t>Modeller</a:t>
            </a:r>
            <a:r>
              <a:rPr lang="de-DE" sz="3200" kern="0" dirty="0">
                <a:latin typeface="+mn-lt"/>
              </a:rPr>
              <a:t> Premium</a:t>
            </a:r>
          </a:p>
          <a:p>
            <a:r>
              <a:rPr lang="de-DE" sz="3200" kern="0" dirty="0">
                <a:latin typeface="+mn-lt"/>
              </a:rPr>
              <a:t>Cognos Analytics</a:t>
            </a:r>
          </a:p>
          <a:p>
            <a:r>
              <a:rPr lang="de-DE" sz="3200" kern="0" dirty="0">
                <a:latin typeface="+mn-lt"/>
              </a:rPr>
              <a:t>ILOG CPLEX </a:t>
            </a:r>
            <a:r>
              <a:rPr lang="de-DE" sz="3200" kern="0" dirty="0" err="1">
                <a:latin typeface="+mn-lt"/>
              </a:rPr>
              <a:t>Optimization</a:t>
            </a:r>
            <a:r>
              <a:rPr lang="de-DE" sz="3200" kern="0" dirty="0">
                <a:latin typeface="+mn-lt"/>
              </a:rPr>
              <a:t> Studio</a:t>
            </a:r>
          </a:p>
          <a:p>
            <a:endParaRPr lang="de-DE" sz="3200" kern="0" dirty="0">
              <a:latin typeface="+mn-lt"/>
            </a:endParaRPr>
          </a:p>
          <a:p>
            <a:r>
              <a:rPr lang="de-DE" sz="3200" kern="0" dirty="0">
                <a:latin typeface="+mn-lt"/>
              </a:rPr>
              <a:t>…. and </a:t>
            </a:r>
            <a:r>
              <a:rPr lang="de-DE" sz="3200" kern="0" dirty="0" err="1">
                <a:latin typeface="+mn-lt"/>
              </a:rPr>
              <a:t>much</a:t>
            </a:r>
            <a:r>
              <a:rPr lang="de-DE" sz="3200" kern="0" dirty="0">
                <a:latin typeface="+mn-lt"/>
              </a:rPr>
              <a:t> </a:t>
            </a:r>
            <a:r>
              <a:rPr lang="de-DE" sz="3200" kern="0" dirty="0" err="1">
                <a:latin typeface="+mn-lt"/>
              </a:rPr>
              <a:t>more</a:t>
            </a:r>
            <a:r>
              <a:rPr lang="de-DE" sz="3200" kern="0" dirty="0">
                <a:latin typeface="+mn-lt"/>
              </a:rPr>
              <a:t>.</a:t>
            </a:r>
          </a:p>
          <a:p>
            <a:endParaRPr lang="en-US" kern="0" dirty="0"/>
          </a:p>
        </p:txBody>
      </p:sp>
      <p:sp>
        <p:nvSpPr>
          <p:cNvPr id="26" name="Content Placeholder 1">
            <a:extLst>
              <a:ext uri="{FF2B5EF4-FFF2-40B4-BE49-F238E27FC236}">
                <a16:creationId xmlns:a16="http://schemas.microsoft.com/office/drawing/2014/main" id="{98A15DB6-44FB-0129-4773-E0CA9B1D49FB}"/>
              </a:ext>
            </a:extLst>
          </p:cNvPr>
          <p:cNvSpPr txBox="1">
            <a:spLocks/>
          </p:cNvSpPr>
          <p:nvPr/>
        </p:nvSpPr>
        <p:spPr>
          <a:xfrm>
            <a:off x="12455974" y="4751366"/>
            <a:ext cx="4856696" cy="7063646"/>
          </a:xfrm>
          <a:prstGeom prst="rect">
            <a:avLst/>
          </a:prstGeom>
        </p:spPr>
        <p:txBody>
          <a:bodyPr/>
          <a:lstStyle>
            <a:lvl1pPr marL="0" marR="0" indent="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329184" marR="0" indent="-329184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58368" marR="0" indent="-329184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87552" marR="0" indent="-329184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143000" marR="0" indent="-457200" algn="l" defTabSz="2438400" rtl="0" eaLnBrk="1" latinLnBrk="0" hangingPunct="1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defTabSz="1828823">
              <a:lnSpc>
                <a:spcPct val="95000"/>
              </a:lnSpc>
              <a:spcAft>
                <a:spcPts val="267"/>
              </a:spcAft>
            </a:pPr>
            <a:r>
              <a:rPr lang="en-US" altLang="ja-JP" sz="4267" b="1" kern="0" dirty="0">
                <a:solidFill>
                  <a:schemeClr val="accent1"/>
                </a:solidFill>
                <a:latin typeface="IBM Plex Sans"/>
                <a:ea typeface="SimSun" charset="-122"/>
              </a:rPr>
              <a:t>Courses / Badges</a:t>
            </a:r>
          </a:p>
          <a:p>
            <a:pPr defTabSz="1828823">
              <a:lnSpc>
                <a:spcPct val="95000"/>
              </a:lnSpc>
              <a:spcAft>
                <a:spcPts val="267"/>
              </a:spcAft>
            </a:pPr>
            <a:r>
              <a:rPr lang="en-US" sz="3200" kern="0" dirty="0">
                <a:latin typeface="+mn-lt"/>
                <a:ea typeface="+mn-ea"/>
              </a:rPr>
              <a:t>Data Science Foundations</a:t>
            </a:r>
          </a:p>
          <a:p>
            <a:pPr defTabSz="1828823">
              <a:lnSpc>
                <a:spcPct val="95000"/>
              </a:lnSpc>
              <a:spcAft>
                <a:spcPts val="267"/>
              </a:spcAft>
            </a:pPr>
            <a:r>
              <a:rPr lang="en-US" sz="3200" kern="0" dirty="0">
                <a:latin typeface="+mn-lt"/>
                <a:ea typeface="+mn-ea"/>
              </a:rPr>
              <a:t>Python for Data Science</a:t>
            </a:r>
          </a:p>
          <a:p>
            <a:pPr defTabSz="1828823">
              <a:lnSpc>
                <a:spcPct val="95000"/>
              </a:lnSpc>
              <a:spcAft>
                <a:spcPts val="267"/>
              </a:spcAft>
            </a:pPr>
            <a:r>
              <a:rPr lang="en-US" sz="3200" kern="0" dirty="0">
                <a:latin typeface="+mn-lt"/>
                <a:ea typeface="+mn-ea"/>
              </a:rPr>
              <a:t>IBM Watson Studio - ML/DL made easy: </a:t>
            </a:r>
            <a:r>
              <a:rPr lang="en-US" altLang="ja-JP" sz="3200" kern="0" dirty="0">
                <a:latin typeface="+mn-lt"/>
                <a:ea typeface="+mn-ea"/>
              </a:rPr>
              <a:t>Constraint Programming with ILOG </a:t>
            </a:r>
          </a:p>
          <a:p>
            <a:pPr defTabSz="1828823">
              <a:lnSpc>
                <a:spcPct val="95000"/>
              </a:lnSpc>
              <a:spcAft>
                <a:spcPts val="267"/>
              </a:spcAft>
            </a:pPr>
            <a:endParaRPr lang="en-US" altLang="ja-JP" sz="3200" kern="0" dirty="0">
              <a:latin typeface="+mn-lt"/>
              <a:ea typeface="+mn-ea"/>
            </a:endParaRPr>
          </a:p>
          <a:p>
            <a:r>
              <a:rPr lang="de-DE" sz="3200" kern="0" dirty="0">
                <a:latin typeface="+mn-lt"/>
                <a:ea typeface="+mn-ea"/>
              </a:rPr>
              <a:t>…. and </a:t>
            </a:r>
            <a:r>
              <a:rPr lang="de-DE" sz="3200" kern="0" dirty="0" err="1">
                <a:latin typeface="+mn-lt"/>
                <a:ea typeface="+mn-ea"/>
              </a:rPr>
              <a:t>much</a:t>
            </a:r>
            <a:r>
              <a:rPr lang="de-DE" sz="3200" kern="0" dirty="0">
                <a:latin typeface="+mn-lt"/>
                <a:ea typeface="+mn-ea"/>
              </a:rPr>
              <a:t> </a:t>
            </a:r>
            <a:r>
              <a:rPr lang="de-DE" sz="3200" kern="0" dirty="0" err="1">
                <a:latin typeface="+mn-lt"/>
                <a:ea typeface="+mn-ea"/>
              </a:rPr>
              <a:t>more</a:t>
            </a:r>
            <a:r>
              <a:rPr lang="de-DE" sz="3200" kern="0" dirty="0">
                <a:latin typeface="+mn-lt"/>
                <a:ea typeface="+mn-ea"/>
              </a:rPr>
              <a:t>.</a:t>
            </a: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9C47D81A-C9FD-B238-E249-A05EAB7763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936" t="14" r="919" b="-14"/>
          <a:stretch/>
        </p:blipFill>
        <p:spPr>
          <a:xfrm>
            <a:off x="18291442" y="3414677"/>
            <a:ext cx="5604759" cy="87231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98FBBB2-A181-5A36-91B0-4ACEC6590CC3}"/>
              </a:ext>
            </a:extLst>
          </p:cNvPr>
          <p:cNvSpPr txBox="1">
            <a:spLocks/>
          </p:cNvSpPr>
          <p:nvPr/>
        </p:nvSpPr>
        <p:spPr>
          <a:xfrm>
            <a:off x="575997" y="576072"/>
            <a:ext cx="16289528" cy="15255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>
            <a:lvl1pPr marL="0" marR="0" indent="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solidFill>
                  <a:schemeClr val="tx2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0" marR="0" indent="362568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0" marR="0" indent="725139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0" marR="0" indent="108770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0" marR="0" indent="145027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r>
              <a:rPr lang="de-DE" sz="6000" dirty="0">
                <a:solidFill>
                  <a:schemeClr val="accent1"/>
                </a:solidFill>
                <a:latin typeface="IBM Plex Sans Light" panose="020B0403050203000203" pitchFamily="34" charset="0"/>
              </a:rPr>
              <a:t>IBM </a:t>
            </a:r>
            <a:r>
              <a:rPr lang="de-DE" sz="6000" dirty="0" err="1">
                <a:solidFill>
                  <a:schemeClr val="accent1"/>
                </a:solidFill>
                <a:latin typeface="IBM Plex Sans Light" panose="020B0403050203000203" pitchFamily="34" charset="0"/>
              </a:rPr>
              <a:t>SkillsBuild</a:t>
            </a:r>
            <a:r>
              <a:rPr lang="de-DE" sz="6000" dirty="0">
                <a:solidFill>
                  <a:schemeClr val="accent1"/>
                </a:solidFill>
                <a:latin typeface="IBM Plex Sans Light" panose="020B0403050203000203" pitchFamily="34" charset="0"/>
              </a:rPr>
              <a:t> Software Download</a:t>
            </a:r>
            <a:br>
              <a:rPr lang="de-DE" sz="6000" b="1" dirty="0">
                <a:solidFill>
                  <a:schemeClr val="accent2"/>
                </a:solidFill>
              </a:rPr>
            </a:br>
            <a:r>
              <a:rPr lang="de-DE" sz="3600" dirty="0" err="1">
                <a:solidFill>
                  <a:schemeClr val="tx1"/>
                </a:solidFill>
              </a:rPr>
              <a:t>many</a:t>
            </a:r>
            <a:r>
              <a:rPr lang="de-DE" sz="3600" dirty="0">
                <a:solidFill>
                  <a:schemeClr val="tx1"/>
                </a:solidFill>
              </a:rPr>
              <a:t> links </a:t>
            </a:r>
            <a:r>
              <a:rPr lang="de-DE" sz="3600" dirty="0" err="1">
                <a:solidFill>
                  <a:schemeClr val="tx1"/>
                </a:solidFill>
              </a:rPr>
              <a:t>to</a:t>
            </a:r>
            <a:r>
              <a:rPr lang="de-DE" sz="3600" dirty="0">
                <a:solidFill>
                  <a:schemeClr val="tx1"/>
                </a:solidFill>
              </a:rPr>
              <a:t> </a:t>
            </a:r>
            <a:r>
              <a:rPr lang="de-DE" sz="3600" dirty="0" err="1">
                <a:solidFill>
                  <a:schemeClr val="tx1"/>
                </a:solidFill>
              </a:rPr>
              <a:t>free</a:t>
            </a:r>
            <a:r>
              <a:rPr lang="de-DE" sz="3600" dirty="0">
                <a:solidFill>
                  <a:schemeClr val="tx1"/>
                </a:solidFill>
              </a:rPr>
              <a:t> IBM Data &amp; AI Resources </a:t>
            </a:r>
            <a:endParaRPr lang="de-DE" sz="6000" kern="1200" dirty="0">
              <a:solidFill>
                <a:schemeClr val="accent1"/>
              </a:solidFill>
              <a:latin typeface="IBM Plex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09872104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938053-7AE4-1773-B7D3-6CADB8C9C4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47CD00B-F0F6-3F65-FE3B-9896F798C713}"/>
              </a:ext>
            </a:extLst>
          </p:cNvPr>
          <p:cNvSpPr txBox="1">
            <a:spLocks/>
          </p:cNvSpPr>
          <p:nvPr/>
        </p:nvSpPr>
        <p:spPr>
          <a:xfrm>
            <a:off x="576071" y="576072"/>
            <a:ext cx="19710023" cy="1020854"/>
          </a:xfrm>
          <a:prstGeom prst="rect">
            <a:avLst/>
          </a:prstGeom>
        </p:spPr>
        <p:txBody>
          <a:bodyPr/>
          <a:lstStyle>
            <a:lvl1pPr marL="0" marR="0" indent="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329184" marR="0" indent="-329184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58368" marR="0" indent="-329184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87552" marR="0" indent="-329184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143000" marR="0" indent="-457200" algn="l" defTabSz="2438400" rtl="0" eaLnBrk="1" latinLnBrk="0" hangingPunct="1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r>
              <a:rPr lang="en-US" sz="6000" kern="0" dirty="0">
                <a:solidFill>
                  <a:schemeClr val="accent1"/>
                </a:solidFill>
              </a:rPr>
              <a:t>Hybrid Cloud and AI Platforms</a:t>
            </a:r>
            <a:endParaRPr lang="en-US" sz="2800" kern="0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F3709EA-A1DB-134F-EF9B-12A6AB473A73}"/>
              </a:ext>
            </a:extLst>
          </p:cNvPr>
          <p:cNvSpPr txBox="1">
            <a:spLocks/>
          </p:cNvSpPr>
          <p:nvPr/>
        </p:nvSpPr>
        <p:spPr>
          <a:xfrm>
            <a:off x="575997" y="12800826"/>
            <a:ext cx="7152860" cy="3809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IBM @ Q-Hack 24 / © 2024 IBM Corporation</a:t>
            </a:r>
          </a:p>
        </p:txBody>
      </p:sp>
      <p:sp>
        <p:nvSpPr>
          <p:cNvPr id="20" name="Textfeld 42">
            <a:extLst>
              <a:ext uri="{FF2B5EF4-FFF2-40B4-BE49-F238E27FC236}">
                <a16:creationId xmlns:a16="http://schemas.microsoft.com/office/drawing/2014/main" id="{A334102A-E979-DA72-C61E-B4F4D1DE6557}"/>
              </a:ext>
            </a:extLst>
          </p:cNvPr>
          <p:cNvSpPr txBox="1"/>
          <p:nvPr/>
        </p:nvSpPr>
        <p:spPr>
          <a:xfrm>
            <a:off x="650625" y="4314511"/>
            <a:ext cx="22656534" cy="361528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2438400" hangingPunct="0">
              <a:spcBef>
                <a:spcPts val="2900"/>
              </a:spcBef>
              <a:buSzPct val="100000"/>
              <a:defRPr/>
            </a:pPr>
            <a:r>
              <a:rPr lang="en-US" sz="3200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 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D803168-3E99-62E6-FC73-B422F0D09C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887050" y="14893"/>
            <a:ext cx="1403653" cy="2244437"/>
          </a:xfrm>
          <a:prstGeom prst="rect">
            <a:avLst/>
          </a:prstGeom>
        </p:spPr>
      </p:pic>
      <p:sp>
        <p:nvSpPr>
          <p:cNvPr id="11" name="Titel 1">
            <a:extLst>
              <a:ext uri="{FF2B5EF4-FFF2-40B4-BE49-F238E27FC236}">
                <a16:creationId xmlns:a16="http://schemas.microsoft.com/office/drawing/2014/main" id="{6C62B0A9-0995-0695-4B40-C97709D2DA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588" y="8537542"/>
            <a:ext cx="4127321" cy="2936668"/>
          </a:xfrm>
        </p:spPr>
        <p:txBody>
          <a:bodyPr/>
          <a:lstStyle/>
          <a:p>
            <a:r>
              <a:rPr lang="en-US" sz="3600" kern="1200" dirty="0">
                <a:solidFill>
                  <a:schemeClr val="tx1"/>
                </a:solidFill>
                <a:latin typeface="IBM Plex Sans Light"/>
              </a:rPr>
              <a:t>Learn more about (Gen)AI and get your hands on</a:t>
            </a:r>
            <a:endParaRPr lang="de-DE" sz="3600" kern="1200" dirty="0">
              <a:solidFill>
                <a:schemeClr val="tx1"/>
              </a:solidFill>
              <a:latin typeface="IBM Plex Sans Light"/>
            </a:endParaRPr>
          </a:p>
        </p:txBody>
      </p: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5886ECB3-DCD4-7A47-020D-BDA7382C0C2B}"/>
              </a:ext>
            </a:extLst>
          </p:cNvPr>
          <p:cNvSpPr txBox="1">
            <a:spLocks/>
          </p:cNvSpPr>
          <p:nvPr/>
        </p:nvSpPr>
        <p:spPr>
          <a:xfrm>
            <a:off x="7728857" y="8607796"/>
            <a:ext cx="4904788" cy="4193806"/>
          </a:xfrm>
          <a:prstGeom prst="rect">
            <a:avLst/>
          </a:prstGeom>
          <a:solidFill>
            <a:srgbClr val="BAE6FF">
              <a:alpha val="63000"/>
            </a:srgbClr>
          </a:solidFill>
        </p:spPr>
        <p:txBody>
          <a:bodyPr lIns="228600" tIns="182880">
            <a:norm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8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82880" indent="-182880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65760" indent="-18288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548640" indent="-18288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8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731520" indent="-18288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533954" indent="-20747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2030">
                <a:solidFill>
                  <a:schemeClr val="bg1"/>
                </a:solidFill>
                <a:latin typeface="IBM Plex Sans Light" charset="0"/>
              </a:defRPr>
            </a:lvl6pPr>
            <a:lvl7pPr marL="3114066" indent="-20747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2030">
                <a:solidFill>
                  <a:schemeClr val="bg1"/>
                </a:solidFill>
                <a:latin typeface="IBM Plex Sans Light" charset="0"/>
              </a:defRPr>
            </a:lvl7pPr>
            <a:lvl8pPr marL="3694176" indent="-20747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2030">
                <a:solidFill>
                  <a:schemeClr val="bg1"/>
                </a:solidFill>
                <a:latin typeface="IBM Plex Sans Light" charset="0"/>
              </a:defRPr>
            </a:lvl8pPr>
            <a:lvl9pPr marL="4274288" indent="-20747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2030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defTabSz="914400">
              <a:spcAft>
                <a:spcPts val="3400"/>
              </a:spcAft>
            </a:pPr>
            <a:endParaRPr lang="en-US" sz="2400" kern="0" dirty="0">
              <a:latin typeface="IBM Plex Sans Light" panose="020B0403050000000000" pitchFamily="34" charset="77"/>
            </a:endParaRP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95F98646-7880-7C7D-36D0-1399E191CCCF}"/>
              </a:ext>
            </a:extLst>
          </p:cNvPr>
          <p:cNvSpPr txBox="1">
            <a:spLocks/>
          </p:cNvSpPr>
          <p:nvPr/>
        </p:nvSpPr>
        <p:spPr>
          <a:xfrm>
            <a:off x="12855560" y="8607796"/>
            <a:ext cx="4904788" cy="4193806"/>
          </a:xfrm>
          <a:prstGeom prst="rect">
            <a:avLst/>
          </a:prstGeom>
          <a:solidFill>
            <a:srgbClr val="BAE6FF">
              <a:alpha val="63000"/>
            </a:srgbClr>
          </a:solidFill>
        </p:spPr>
        <p:txBody>
          <a:bodyPr lIns="228600" tIns="182880">
            <a:norm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8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82880" indent="-182880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65760" indent="-18288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548640" indent="-18288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8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731520" indent="-18288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533954" indent="-20747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2030">
                <a:solidFill>
                  <a:schemeClr val="bg1"/>
                </a:solidFill>
                <a:latin typeface="IBM Plex Sans Light" charset="0"/>
              </a:defRPr>
            </a:lvl6pPr>
            <a:lvl7pPr marL="3114066" indent="-20747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2030">
                <a:solidFill>
                  <a:schemeClr val="bg1"/>
                </a:solidFill>
                <a:latin typeface="IBM Plex Sans Light" charset="0"/>
              </a:defRPr>
            </a:lvl7pPr>
            <a:lvl8pPr marL="3694176" indent="-20747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2030">
                <a:solidFill>
                  <a:schemeClr val="bg1"/>
                </a:solidFill>
                <a:latin typeface="IBM Plex Sans Light" charset="0"/>
              </a:defRPr>
            </a:lvl8pPr>
            <a:lvl9pPr marL="4274288" indent="-20747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2030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defTabSz="914400">
              <a:spcAft>
                <a:spcPts val="3400"/>
              </a:spcAft>
            </a:pPr>
            <a:endParaRPr lang="en-US" sz="2400" kern="0" dirty="0">
              <a:latin typeface="IBM Plex Sans Light" panose="020B0403050000000000" pitchFamily="34" charset="77"/>
            </a:endParaRP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6206C7E6-C829-C0F8-804C-9EB223783687}"/>
              </a:ext>
            </a:extLst>
          </p:cNvPr>
          <p:cNvSpPr txBox="1">
            <a:spLocks/>
          </p:cNvSpPr>
          <p:nvPr/>
        </p:nvSpPr>
        <p:spPr>
          <a:xfrm>
            <a:off x="17982262" y="8598993"/>
            <a:ext cx="4904788" cy="4193806"/>
          </a:xfrm>
          <a:prstGeom prst="rect">
            <a:avLst/>
          </a:prstGeom>
          <a:solidFill>
            <a:srgbClr val="BAE6FF">
              <a:alpha val="63000"/>
            </a:srgbClr>
          </a:solidFill>
        </p:spPr>
        <p:txBody>
          <a:bodyPr lIns="228600" tIns="182880">
            <a:norm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8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82880" indent="-182880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65760" indent="-18288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548640" indent="-18288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8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731520" indent="-18288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8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533954" indent="-20747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2030">
                <a:solidFill>
                  <a:schemeClr val="bg1"/>
                </a:solidFill>
                <a:latin typeface="IBM Plex Sans Light" charset="0"/>
              </a:defRPr>
            </a:lvl6pPr>
            <a:lvl7pPr marL="3114066" indent="-20747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2030">
                <a:solidFill>
                  <a:schemeClr val="bg1"/>
                </a:solidFill>
                <a:latin typeface="IBM Plex Sans Light" charset="0"/>
              </a:defRPr>
            </a:lvl7pPr>
            <a:lvl8pPr marL="3694176" indent="-20747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2030">
                <a:solidFill>
                  <a:schemeClr val="bg1"/>
                </a:solidFill>
                <a:latin typeface="IBM Plex Sans Light" charset="0"/>
              </a:defRPr>
            </a:lvl8pPr>
            <a:lvl9pPr marL="4274288" indent="-20747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2030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defTabSz="914400">
              <a:spcAft>
                <a:spcPts val="3400"/>
              </a:spcAft>
            </a:pPr>
            <a:endParaRPr lang="en-US" sz="2400" kern="0" dirty="0">
              <a:latin typeface="IBM Plex Sans Light" panose="020B0403050000000000" pitchFamily="34" charset="77"/>
            </a:endParaRPr>
          </a:p>
        </p:txBody>
      </p:sp>
      <p:cxnSp>
        <p:nvCxnSpPr>
          <p:cNvPr id="19" name="Straight Connector 44">
            <a:extLst>
              <a:ext uri="{FF2B5EF4-FFF2-40B4-BE49-F238E27FC236}">
                <a16:creationId xmlns:a16="http://schemas.microsoft.com/office/drawing/2014/main" id="{F1DDF857-30A9-26B3-6152-49C6DCB9FFD9}"/>
              </a:ext>
            </a:extLst>
          </p:cNvPr>
          <p:cNvCxnSpPr>
            <a:cxnSpLocks/>
          </p:cNvCxnSpPr>
          <p:nvPr/>
        </p:nvCxnSpPr>
        <p:spPr bwMode="auto">
          <a:xfrm>
            <a:off x="17999202" y="8598992"/>
            <a:ext cx="4866776" cy="0"/>
          </a:xfrm>
          <a:prstGeom prst="line">
            <a:avLst/>
          </a:prstGeom>
          <a:ln w="28575">
            <a:solidFill>
              <a:srgbClr val="0F62FE"/>
            </a:soli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CFBE424-4DE4-679D-DE31-F5F8389C6558}"/>
              </a:ext>
            </a:extLst>
          </p:cNvPr>
          <p:cNvSpPr txBox="1">
            <a:spLocks/>
          </p:cNvSpPr>
          <p:nvPr/>
        </p:nvSpPr>
        <p:spPr>
          <a:xfrm>
            <a:off x="8095179" y="9875136"/>
            <a:ext cx="4051520" cy="26032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71452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42905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628658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4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803285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1583721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6pPr>
            <a:lvl7pPr marL="1946291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7pPr>
            <a:lvl8pPr marL="2308860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8pPr>
            <a:lvl9pPr marL="2671430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defTabSz="1463040">
              <a:buClr>
                <a:srgbClr val="000000"/>
              </a:buClr>
            </a:pPr>
            <a:r>
              <a:rPr lang="en-US" sz="3200" b="1" kern="0" dirty="0">
                <a:solidFill>
                  <a:srgbClr val="0F62FE"/>
                </a:solidFill>
              </a:rPr>
              <a:t>IBM Workshop:</a:t>
            </a:r>
          </a:p>
          <a:p>
            <a:pPr defTabSz="1463040">
              <a:buClr>
                <a:srgbClr val="000000"/>
              </a:buClr>
            </a:pPr>
            <a:r>
              <a:rPr lang="en-US" sz="3200" i="1" kern="0" dirty="0"/>
              <a:t> </a:t>
            </a:r>
            <a:br>
              <a:rPr lang="en-US" sz="3200" i="1" kern="0" dirty="0"/>
            </a:br>
            <a:r>
              <a:rPr lang="en-US" sz="3200" i="1" kern="0" dirty="0" err="1"/>
              <a:t>GenAI</a:t>
            </a:r>
            <a:r>
              <a:rPr lang="en-US" sz="3200" i="1" kern="0" dirty="0"/>
              <a:t> – between concepts, technology and trends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6D1BFE6B-89E1-29E0-AF33-D16F4A9A82EF}"/>
              </a:ext>
            </a:extLst>
          </p:cNvPr>
          <p:cNvSpPr txBox="1">
            <a:spLocks/>
          </p:cNvSpPr>
          <p:nvPr/>
        </p:nvSpPr>
        <p:spPr>
          <a:xfrm>
            <a:off x="13309593" y="9875136"/>
            <a:ext cx="3977147" cy="26032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71452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42905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628658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4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803285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1583721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6pPr>
            <a:lvl7pPr marL="1946291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7pPr>
            <a:lvl8pPr marL="2308860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8pPr>
            <a:lvl9pPr marL="2671430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defTabSz="1463040">
              <a:buClr>
                <a:srgbClr val="000000"/>
              </a:buClr>
            </a:pPr>
            <a:r>
              <a:rPr lang="en-US" sz="3200" b="1" kern="0" dirty="0">
                <a:solidFill>
                  <a:srgbClr val="0F62FE"/>
                </a:solidFill>
              </a:rPr>
              <a:t>IBM Challenge:</a:t>
            </a:r>
          </a:p>
          <a:p>
            <a:pPr defTabSz="1463040">
              <a:buClr>
                <a:srgbClr val="000000"/>
              </a:buClr>
            </a:pPr>
            <a:r>
              <a:rPr lang="en-US" sz="3200" b="1" i="1" kern="0" dirty="0"/>
              <a:t> </a:t>
            </a:r>
            <a:br>
              <a:rPr lang="en-US" sz="3200" b="1" i="1" kern="0" dirty="0"/>
            </a:br>
            <a:r>
              <a:rPr lang="en-US" sz="3200" i="1" kern="0" dirty="0"/>
              <a:t>AI for evidence-based decision making in the public space</a:t>
            </a:r>
          </a:p>
        </p:txBody>
      </p:sp>
      <p:sp>
        <p:nvSpPr>
          <p:cNvPr id="25" name="Text Placeholder 1">
            <a:extLst>
              <a:ext uri="{FF2B5EF4-FFF2-40B4-BE49-F238E27FC236}">
                <a16:creationId xmlns:a16="http://schemas.microsoft.com/office/drawing/2014/main" id="{131A4AFE-E962-82B2-847E-16D41D109D0E}"/>
              </a:ext>
            </a:extLst>
          </p:cNvPr>
          <p:cNvSpPr txBox="1">
            <a:spLocks/>
          </p:cNvSpPr>
          <p:nvPr/>
        </p:nvSpPr>
        <p:spPr>
          <a:xfrm>
            <a:off x="18449633" y="9875136"/>
            <a:ext cx="3986398" cy="492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71452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42905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628658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4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803285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1583721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6pPr>
            <a:lvl7pPr marL="1946291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7pPr>
            <a:lvl8pPr marL="2308860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8pPr>
            <a:lvl9pPr marL="2671430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defTabSz="1463040"/>
            <a:r>
              <a:rPr lang="en-US" sz="3200" b="1" kern="0" dirty="0">
                <a:solidFill>
                  <a:srgbClr val="0F62FE"/>
                </a:solidFill>
              </a:rPr>
              <a:t>IBM Careers:</a:t>
            </a:r>
          </a:p>
        </p:txBody>
      </p:sp>
      <p:cxnSp>
        <p:nvCxnSpPr>
          <p:cNvPr id="27" name="Straight Connector 40">
            <a:extLst>
              <a:ext uri="{FF2B5EF4-FFF2-40B4-BE49-F238E27FC236}">
                <a16:creationId xmlns:a16="http://schemas.microsoft.com/office/drawing/2014/main" id="{AD1E6AFA-89AB-09B1-25C8-C93AB3441EBF}"/>
              </a:ext>
            </a:extLst>
          </p:cNvPr>
          <p:cNvCxnSpPr>
            <a:cxnSpLocks/>
          </p:cNvCxnSpPr>
          <p:nvPr/>
        </p:nvCxnSpPr>
        <p:spPr bwMode="auto">
          <a:xfrm>
            <a:off x="7745796" y="8607795"/>
            <a:ext cx="4866776" cy="0"/>
          </a:xfrm>
          <a:prstGeom prst="line">
            <a:avLst/>
          </a:prstGeom>
          <a:ln w="28575">
            <a:solidFill>
              <a:srgbClr val="0F62FE"/>
            </a:soli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8" name="Straight Connector 42">
            <a:extLst>
              <a:ext uri="{FF2B5EF4-FFF2-40B4-BE49-F238E27FC236}">
                <a16:creationId xmlns:a16="http://schemas.microsoft.com/office/drawing/2014/main" id="{B6A91711-6596-C738-D84E-03AD1928E893}"/>
              </a:ext>
            </a:extLst>
          </p:cNvPr>
          <p:cNvCxnSpPr>
            <a:cxnSpLocks/>
          </p:cNvCxnSpPr>
          <p:nvPr/>
        </p:nvCxnSpPr>
        <p:spPr bwMode="auto">
          <a:xfrm>
            <a:off x="12872499" y="8607795"/>
            <a:ext cx="4866776" cy="0"/>
          </a:xfrm>
          <a:prstGeom prst="line">
            <a:avLst/>
          </a:prstGeom>
          <a:ln w="28575">
            <a:solidFill>
              <a:srgbClr val="0F62FE"/>
            </a:soli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33" name="Picture 2">
            <a:extLst>
              <a:ext uri="{FF2B5EF4-FFF2-40B4-BE49-F238E27FC236}">
                <a16:creationId xmlns:a16="http://schemas.microsoft.com/office/drawing/2014/main" id="{E6CE7B28-3C70-43BE-0616-E06B98968BE6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18400005" y="10590580"/>
            <a:ext cx="1980681" cy="1985203"/>
          </a:xfrm>
          <a:prstGeom prst="rect">
            <a:avLst/>
          </a:prstGeom>
        </p:spPr>
      </p:pic>
      <p:sp>
        <p:nvSpPr>
          <p:cNvPr id="35" name="Textfeld 34">
            <a:extLst>
              <a:ext uri="{FF2B5EF4-FFF2-40B4-BE49-F238E27FC236}">
                <a16:creationId xmlns:a16="http://schemas.microsoft.com/office/drawing/2014/main" id="{8B24C406-E269-EDBA-A82B-9EC334364CFA}"/>
              </a:ext>
            </a:extLst>
          </p:cNvPr>
          <p:cNvSpPr txBox="1"/>
          <p:nvPr/>
        </p:nvSpPr>
        <p:spPr>
          <a:xfrm>
            <a:off x="20383539" y="12161334"/>
            <a:ext cx="2052492" cy="36933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等线" panose="02010600030101010101" pitchFamily="2" charset="-122"/>
                <a:cs typeface="+mn-cs"/>
              </a:rPr>
              <a:t>ibm.com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等线" panose="02010600030101010101" pitchFamily="2" charset="-122"/>
                <a:cs typeface="+mn-cs"/>
              </a:rPr>
              <a:t>/careers</a:t>
            </a:r>
          </a:p>
        </p:txBody>
      </p:sp>
      <p:pic>
        <p:nvPicPr>
          <p:cNvPr id="3074" name="Picture 2" descr="Tickets for Q-Summit 2024 | vivenu">
            <a:extLst>
              <a:ext uri="{FF2B5EF4-FFF2-40B4-BE49-F238E27FC236}">
                <a16:creationId xmlns:a16="http://schemas.microsoft.com/office/drawing/2014/main" id="{86CCB235-4C5F-DE12-948D-B9987C77F8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63947" y="8917476"/>
            <a:ext cx="808049" cy="808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Grafik 38" descr="Lehrer mit einfarbiger Füllung">
            <a:extLst>
              <a:ext uri="{FF2B5EF4-FFF2-40B4-BE49-F238E27FC236}">
                <a16:creationId xmlns:a16="http://schemas.microsoft.com/office/drawing/2014/main" id="{E63894A3-8BE1-68DA-A7B1-38D00C90997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087709" y="8827724"/>
            <a:ext cx="914400" cy="914400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1683F22D-3604-FF3B-5931-C1572457769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8438618" y="8940979"/>
            <a:ext cx="911648" cy="801145"/>
          </a:xfrm>
          <a:prstGeom prst="rect">
            <a:avLst/>
          </a:prstGeom>
        </p:spPr>
      </p:pic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2161755E-0383-DC85-4366-96BBFD839491}"/>
              </a:ext>
            </a:extLst>
          </p:cNvPr>
          <p:cNvGrpSpPr/>
          <p:nvPr/>
        </p:nvGrpSpPr>
        <p:grpSpPr>
          <a:xfrm>
            <a:off x="805564" y="2217432"/>
            <a:ext cx="11586579" cy="4640568"/>
            <a:chOff x="3414329" y="352564"/>
            <a:chExt cx="5348918" cy="2142308"/>
          </a:xfrm>
        </p:grpSpPr>
        <p:grpSp>
          <p:nvGrpSpPr>
            <p:cNvPr id="45" name="Group 50">
              <a:extLst>
                <a:ext uri="{FF2B5EF4-FFF2-40B4-BE49-F238E27FC236}">
                  <a16:creationId xmlns:a16="http://schemas.microsoft.com/office/drawing/2014/main" id="{BE50F384-40F7-65AD-A537-ACAD1458A39F}"/>
                </a:ext>
              </a:extLst>
            </p:cNvPr>
            <p:cNvGrpSpPr/>
            <p:nvPr/>
          </p:nvGrpSpPr>
          <p:grpSpPr>
            <a:xfrm>
              <a:off x="3414329" y="352564"/>
              <a:ext cx="1954877" cy="2138085"/>
              <a:chOff x="3394375" y="299455"/>
              <a:chExt cx="1954877" cy="2138085"/>
            </a:xfrm>
          </p:grpSpPr>
          <p:sp>
            <p:nvSpPr>
              <p:cNvPr id="46" name="Hexagon 52">
                <a:extLst>
                  <a:ext uri="{FF2B5EF4-FFF2-40B4-BE49-F238E27FC236}">
                    <a16:creationId xmlns:a16="http://schemas.microsoft.com/office/drawing/2014/main" id="{2115AF88-BFBF-4839-DEB3-59BC0E982DA8}"/>
                  </a:ext>
                </a:extLst>
              </p:cNvPr>
              <p:cNvSpPr/>
              <p:nvPr/>
            </p:nvSpPr>
            <p:spPr bwMode="auto">
              <a:xfrm rot="5400000">
                <a:off x="3302771" y="391059"/>
                <a:ext cx="2138085" cy="1954877"/>
              </a:xfrm>
              <a:prstGeom prst="hexagon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1905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System Font Regular"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grpSp>
            <p:nvGrpSpPr>
              <p:cNvPr id="47" name="Group 54">
                <a:extLst>
                  <a:ext uri="{FF2B5EF4-FFF2-40B4-BE49-F238E27FC236}">
                    <a16:creationId xmlns:a16="http://schemas.microsoft.com/office/drawing/2014/main" id="{BEC3C9C7-C870-9928-E24C-CC01F7725F85}"/>
                  </a:ext>
                </a:extLst>
              </p:cNvPr>
              <p:cNvGrpSpPr/>
              <p:nvPr/>
            </p:nvGrpSpPr>
            <p:grpSpPr>
              <a:xfrm>
                <a:off x="3507743" y="489567"/>
                <a:ext cx="1800279" cy="1749717"/>
                <a:chOff x="7017602" y="3934107"/>
                <a:chExt cx="6190927" cy="6017051"/>
              </a:xfrm>
              <a:noFill/>
            </p:grpSpPr>
            <p:sp>
              <p:nvSpPr>
                <p:cNvPr id="48" name="Oval 47">
                  <a:extLst>
                    <a:ext uri="{FF2B5EF4-FFF2-40B4-BE49-F238E27FC236}">
                      <a16:creationId xmlns:a16="http://schemas.microsoft.com/office/drawing/2014/main" id="{6243CC46-0A02-0229-8F4A-4F721F5EA34C}"/>
                    </a:ext>
                  </a:extLst>
                </p:cNvPr>
                <p:cNvSpPr/>
                <p:nvPr/>
              </p:nvSpPr>
              <p:spPr bwMode="auto">
                <a:xfrm>
                  <a:off x="7191478" y="3934107"/>
                  <a:ext cx="6017051" cy="6017051"/>
                </a:xfrm>
                <a:prstGeom prst="ellipse">
                  <a:avLst/>
                </a:prstGeom>
                <a:grpFill/>
                <a:ln w="1905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vert="horz" wrap="square" lIns="91440" tIns="91440" rIns="91440" bIns="9144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System Font Regular"/>
                    <a:buNone/>
                    <a:tabLst/>
                    <a:defRPr/>
                  </a:pPr>
                  <a:endPara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pic>
              <p:nvPicPr>
                <p:cNvPr id="49" name="Google Shape;290;p45">
                  <a:extLst>
                    <a:ext uri="{FF2B5EF4-FFF2-40B4-BE49-F238E27FC236}">
                      <a16:creationId xmlns:a16="http://schemas.microsoft.com/office/drawing/2014/main" id="{716ADDF4-6491-68A9-7E35-12633DA52C19}"/>
                    </a:ext>
                  </a:extLst>
                </p:cNvPr>
                <p:cNvPicPr preferRelativeResize="0"/>
                <p:nvPr/>
              </p:nvPicPr>
              <p:blipFill rotWithShape="1">
                <a:blip r:embed="rId10">
                  <a:alphaModFix/>
                </a:blip>
                <a:srcRect/>
                <a:stretch/>
              </p:blipFill>
              <p:spPr>
                <a:xfrm>
                  <a:off x="7860740" y="5353286"/>
                  <a:ext cx="4097635" cy="1392563"/>
                </a:xfrm>
                <a:prstGeom prst="rect">
                  <a:avLst/>
                </a:prstGeom>
                <a:grpFill/>
                <a:ln>
                  <a:noFill/>
                </a:ln>
              </p:spPr>
            </p:pic>
            <p:sp>
              <p:nvSpPr>
                <p:cNvPr id="50" name="TextBox 57">
                  <a:extLst>
                    <a:ext uri="{FF2B5EF4-FFF2-40B4-BE49-F238E27FC236}">
                      <a16:creationId xmlns:a16="http://schemas.microsoft.com/office/drawing/2014/main" id="{54CD81B9-426E-FBC7-C614-67FAC68965AA}"/>
                    </a:ext>
                  </a:extLst>
                </p:cNvPr>
                <p:cNvSpPr txBox="1"/>
                <p:nvPr/>
              </p:nvSpPr>
              <p:spPr>
                <a:xfrm>
                  <a:off x="7017602" y="7128257"/>
                  <a:ext cx="5816166" cy="977220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>
                  <a:spAutoFit/>
                </a:bodyPr>
                <a:lstStyle>
                  <a:defPPr>
                    <a:defRPr lang="en-US"/>
                  </a:defPPr>
                  <a:lvl1pPr defTabSz="1029284">
                    <a:defRPr sz="1000">
                      <a:latin typeface="IBM Plex Sans Light" panose="020B0403050203000203" pitchFamily="34" charset="0"/>
                      <a:ea typeface="IBM Plex Sans" charset="0"/>
                      <a:cs typeface="IBM Plex Sans" charset="0"/>
                    </a:defRPr>
                  </a:lvl1pPr>
                </a:lstStyle>
                <a:p>
                  <a:pPr marL="0" marR="0" lvl="0" indent="0" algn="ctr" defTabSz="274479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j-lt"/>
                    </a:rPr>
                    <a:t>The industry’s leading </a:t>
                  </a:r>
                  <a:r>
                    <a:rPr kumimoji="0" lang="en-US" sz="200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+mj-lt"/>
                    </a:rPr>
                    <a:t>unified hybrid cloud app platform</a:t>
                  </a:r>
                </a:p>
              </p:txBody>
            </p:sp>
          </p:grpSp>
        </p:grpSp>
        <p:grpSp>
          <p:nvGrpSpPr>
            <p:cNvPr id="51" name="Group 58">
              <a:extLst>
                <a:ext uri="{FF2B5EF4-FFF2-40B4-BE49-F238E27FC236}">
                  <a16:creationId xmlns:a16="http://schemas.microsoft.com/office/drawing/2014/main" id="{0C65991F-49E3-D2C5-FA1C-97EA5C1F1A1E}"/>
                </a:ext>
              </a:extLst>
            </p:cNvPr>
            <p:cNvGrpSpPr/>
            <p:nvPr/>
          </p:nvGrpSpPr>
          <p:grpSpPr>
            <a:xfrm>
              <a:off x="6283790" y="356786"/>
              <a:ext cx="2479457" cy="2138086"/>
              <a:chOff x="6283790" y="303677"/>
              <a:chExt cx="2479457" cy="2138086"/>
            </a:xfrm>
          </p:grpSpPr>
          <p:sp>
            <p:nvSpPr>
              <p:cNvPr id="52" name="Hexagon 59">
                <a:extLst>
                  <a:ext uri="{FF2B5EF4-FFF2-40B4-BE49-F238E27FC236}">
                    <a16:creationId xmlns:a16="http://schemas.microsoft.com/office/drawing/2014/main" id="{402C3424-2074-347F-59FC-36DAEEF80021}"/>
                  </a:ext>
                </a:extLst>
              </p:cNvPr>
              <p:cNvSpPr/>
              <p:nvPr/>
            </p:nvSpPr>
            <p:spPr bwMode="auto">
              <a:xfrm rot="5400000">
                <a:off x="6716766" y="395281"/>
                <a:ext cx="2138086" cy="1954877"/>
              </a:xfrm>
              <a:prstGeom prst="hexagon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905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System Font Regular"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grpSp>
            <p:nvGrpSpPr>
              <p:cNvPr id="53" name="Group 60">
                <a:extLst>
                  <a:ext uri="{FF2B5EF4-FFF2-40B4-BE49-F238E27FC236}">
                    <a16:creationId xmlns:a16="http://schemas.microsoft.com/office/drawing/2014/main" id="{E9E60586-9033-FDE0-C495-D858F8ABB702}"/>
                  </a:ext>
                </a:extLst>
              </p:cNvPr>
              <p:cNvGrpSpPr/>
              <p:nvPr/>
            </p:nvGrpSpPr>
            <p:grpSpPr>
              <a:xfrm>
                <a:off x="6283790" y="433058"/>
                <a:ext cx="2354249" cy="1749718"/>
                <a:chOff x="16904869" y="4060553"/>
                <a:chExt cx="8095937" cy="6017051"/>
              </a:xfrm>
            </p:grpSpPr>
            <p:sp>
              <p:nvSpPr>
                <p:cNvPr id="54" name="Oval 53">
                  <a:extLst>
                    <a:ext uri="{FF2B5EF4-FFF2-40B4-BE49-F238E27FC236}">
                      <a16:creationId xmlns:a16="http://schemas.microsoft.com/office/drawing/2014/main" id="{460AA8D5-D10B-C4AB-6DC4-2FA0E8CA9B65}"/>
                    </a:ext>
                  </a:extLst>
                </p:cNvPr>
                <p:cNvSpPr/>
                <p:nvPr/>
              </p:nvSpPr>
              <p:spPr bwMode="auto">
                <a:xfrm>
                  <a:off x="16904869" y="4060553"/>
                  <a:ext cx="6017051" cy="6017051"/>
                </a:xfrm>
                <a:prstGeom prst="ellipse">
                  <a:avLst/>
                </a:prstGeom>
                <a:noFill/>
                <a:ln w="1905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vert="horz" wrap="square" lIns="91440" tIns="91440" rIns="91440" bIns="9144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System Font Regular"/>
                    <a:buNone/>
                    <a:tabLst/>
                    <a:defRPr/>
                  </a:pPr>
                  <a:endPara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Google Shape;296;p45">
                  <a:extLst>
                    <a:ext uri="{FF2B5EF4-FFF2-40B4-BE49-F238E27FC236}">
                      <a16:creationId xmlns:a16="http://schemas.microsoft.com/office/drawing/2014/main" id="{BEB345AD-47E3-B683-8FDB-E4E2D37B1D70}"/>
                    </a:ext>
                  </a:extLst>
                </p:cNvPr>
                <p:cNvSpPr txBox="1"/>
                <p:nvPr/>
              </p:nvSpPr>
              <p:spPr>
                <a:xfrm>
                  <a:off x="20008536" y="5570054"/>
                  <a:ext cx="4215065" cy="106171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0" tIns="0" rIns="0" bIns="0" anchor="t" anchorCtr="0">
                  <a:noAutofit/>
                </a:bodyPr>
                <a:lstStyle/>
                <a:p>
                  <a:pPr marL="0" marR="0" lvl="0" indent="0" algn="l" defTabSz="182931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1141"/>
                    </a:buClr>
                    <a:buSzPts val="2160"/>
                    <a:buFontTx/>
                    <a:buNone/>
                    <a:tabLst/>
                    <a:defRPr/>
                  </a:pPr>
                  <a:r>
                    <a:rPr kumimoji="0" lang="en-US" sz="4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IBM Plex Sans SmBld" panose="020B0703050203000203" pitchFamily="34" charset="0"/>
                      <a:ea typeface="IBM Plex Sans SmBld"/>
                      <a:cs typeface="IBM Plex Sans SmBld"/>
                      <a:sym typeface="IBM Plex Sans SemiBold"/>
                    </a:rPr>
                    <a:t>watson</a:t>
                  </a:r>
                  <a:r>
                    <a:rPr kumimoji="0" lang="en-US" sz="4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F62FE"/>
                      </a:solidFill>
                      <a:effectLst/>
                      <a:uLnTx/>
                      <a:uFillTx/>
                      <a:latin typeface="IBM Plex Sans SmBld" panose="020B0703050203000203" pitchFamily="34" charset="0"/>
                      <a:ea typeface="IBM Plex Sans SmBld"/>
                      <a:cs typeface="IBM Plex Sans SmBld"/>
                      <a:sym typeface="IBM Plex Sans SemiBold"/>
                    </a:rPr>
                    <a:t>x</a:t>
                  </a:r>
                  <a:endParaRPr kumimoji="0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IBM Plex Sans SmBld" panose="020B0703050203000203" pitchFamily="34" charset="0"/>
                  </a:endParaRPr>
                </a:p>
              </p:txBody>
            </p:sp>
            <p:sp>
              <p:nvSpPr>
                <p:cNvPr id="56" name="Google Shape;297;p45">
                  <a:extLst>
                    <a:ext uri="{FF2B5EF4-FFF2-40B4-BE49-F238E27FC236}">
                      <a16:creationId xmlns:a16="http://schemas.microsoft.com/office/drawing/2014/main" id="{EB372CC7-E635-B1B6-7CBD-45919013C51D}"/>
                    </a:ext>
                  </a:extLst>
                </p:cNvPr>
                <p:cNvSpPr txBox="1"/>
                <p:nvPr/>
              </p:nvSpPr>
              <p:spPr>
                <a:xfrm>
                  <a:off x="19192244" y="7522383"/>
                  <a:ext cx="5808562" cy="977219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0" tIns="0" rIns="0" bIns="0" anchor="t" anchorCtr="0">
                  <a:spAutoFit/>
                </a:bodyPr>
                <a:lstStyle/>
                <a:p>
                  <a:pPr marL="0" marR="0" lvl="0" indent="0" algn="ctr" defTabSz="182931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100"/>
                    <a:buFontTx/>
                    <a:buNone/>
                    <a:tabLst/>
                    <a:defRPr/>
                  </a:pPr>
                  <a:r>
                    <a:rPr kumimoji="0" lang="en-US" sz="2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j-lt"/>
                      <a:ea typeface="IBM Plex Sans Light"/>
                      <a:cs typeface="IBM Plex Sans Light"/>
                      <a:sym typeface="IBM Plex Sans Light"/>
                    </a:rPr>
                    <a:t>Enterprise-ready generative </a:t>
                  </a:r>
                  <a:r>
                    <a:rPr kumimoji="0" lang="en-US" sz="200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F62FE"/>
                      </a:solidFill>
                      <a:effectLst/>
                      <a:uLnTx/>
                      <a:uFillTx/>
                      <a:latin typeface="+mj-lt"/>
                      <a:ea typeface="IBM Plex Sans Light"/>
                      <a:cs typeface="IBM Plex Sans Light"/>
                      <a:sym typeface="IBM Plex Sans Light"/>
                    </a:rPr>
                    <a:t>AI and data platform</a:t>
                  </a:r>
                  <a:endParaRPr kumimoji="0" sz="28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</p:grpSp>
      <p:cxnSp>
        <p:nvCxnSpPr>
          <p:cNvPr id="59" name="Straight Connector 40">
            <a:extLst>
              <a:ext uri="{FF2B5EF4-FFF2-40B4-BE49-F238E27FC236}">
                <a16:creationId xmlns:a16="http://schemas.microsoft.com/office/drawing/2014/main" id="{1FFE6B6F-2458-DD5E-0400-86F0FD9430FF}"/>
              </a:ext>
            </a:extLst>
          </p:cNvPr>
          <p:cNvCxnSpPr>
            <a:cxnSpLocks/>
          </p:cNvCxnSpPr>
          <p:nvPr/>
        </p:nvCxnSpPr>
        <p:spPr bwMode="auto">
          <a:xfrm>
            <a:off x="805564" y="7636789"/>
            <a:ext cx="22081486" cy="0"/>
          </a:xfrm>
          <a:prstGeom prst="line">
            <a:avLst/>
          </a:prstGeom>
          <a:ln w="28575">
            <a:solidFill>
              <a:srgbClr val="0F62FE"/>
            </a:soli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1" name="Content Placeholder 1">
            <a:extLst>
              <a:ext uri="{FF2B5EF4-FFF2-40B4-BE49-F238E27FC236}">
                <a16:creationId xmlns:a16="http://schemas.microsoft.com/office/drawing/2014/main" id="{0E52D434-C65C-B395-1D16-F99273B0C6C0}"/>
              </a:ext>
            </a:extLst>
          </p:cNvPr>
          <p:cNvSpPr txBox="1">
            <a:spLocks/>
          </p:cNvSpPr>
          <p:nvPr/>
        </p:nvSpPr>
        <p:spPr>
          <a:xfrm>
            <a:off x="14318017" y="2482513"/>
            <a:ext cx="7479169" cy="4033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71452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42905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628658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4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803285" indent="-173736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1583721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6pPr>
            <a:lvl7pPr marL="1946291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7pPr>
            <a:lvl8pPr marL="2308860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8pPr>
            <a:lvl9pPr marL="2671430" indent="-12967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269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1141"/>
              </a:buClr>
              <a:buSzPts val="1080"/>
              <a:buFont typeface="IBM Plex Sans Light"/>
              <a:buNone/>
            </a:pPr>
            <a:r>
              <a:rPr lang="en-US" sz="3800" b="0" i="0" u="none" strike="noStrike" cap="none" dirty="0">
                <a:solidFill>
                  <a:srgbClr val="000000"/>
                </a:solidFill>
                <a:latin typeface="IBM Plex Sans Light"/>
                <a:ea typeface="IBM Plex Sans Light"/>
                <a:cs typeface="IBM Plex Sans Light"/>
                <a:sym typeface="IBM Plex Sans Light"/>
              </a:rPr>
              <a:t>A platform approach is the strongest enabler of digital transformation.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1141"/>
              </a:buClr>
              <a:buSzPts val="1080"/>
              <a:buFont typeface="IBM Plex Sans Light"/>
              <a:buNone/>
            </a:pPr>
            <a:endParaRPr lang="en-US" sz="3800" b="0" i="0" u="none" strike="noStrike" cap="none" dirty="0">
              <a:solidFill>
                <a:srgbClr val="000000"/>
              </a:solidFill>
              <a:latin typeface="IBM Plex Sans Light"/>
              <a:ea typeface="IBM Plex Sans Light"/>
              <a:cs typeface="IBM Plex Sans Light"/>
              <a:sym typeface="IBM Plex Sans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1141"/>
              </a:buClr>
              <a:buSzPts val="1080"/>
              <a:buFont typeface="IBM Plex Sans Light"/>
              <a:buNone/>
            </a:pPr>
            <a:r>
              <a:rPr lang="en-US" sz="3800" b="0" i="0" u="none" strike="noStrike" cap="none" dirty="0">
                <a:solidFill>
                  <a:srgbClr val="000000"/>
                </a:solidFill>
                <a:latin typeface="IBM Plex Sans Light"/>
                <a:ea typeface="IBM Plex Sans Light"/>
                <a:cs typeface="IBM Plex Sans Light"/>
                <a:sym typeface="IBM Plex Sans Light"/>
              </a:rPr>
              <a:t>IBM offers flexible, secure, open hybrid cloud and AI platforms for a multi-cloud, multi-AI model world</a:t>
            </a:r>
            <a:endParaRPr lang="en-US" sz="3800" dirty="0"/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E349D92D-2D50-3187-D90B-AB43A168DC77}"/>
              </a:ext>
            </a:extLst>
          </p:cNvPr>
          <p:cNvSpPr txBox="1"/>
          <p:nvPr/>
        </p:nvSpPr>
        <p:spPr>
          <a:xfrm>
            <a:off x="6176450" y="3862601"/>
            <a:ext cx="781949" cy="132343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>
            <a:spAutoFit/>
          </a:bodyPr>
          <a:lstStyle/>
          <a:p>
            <a:r>
              <a:rPr lang="en-US" sz="8000" i="1" dirty="0">
                <a:latin typeface="IBM Plex Sans Thin" panose="020B0203050203000203" pitchFamily="34" charset="0"/>
              </a:rPr>
              <a:t>&amp;</a:t>
            </a:r>
            <a:endParaRPr lang="de-DE" sz="8000" i="1" dirty="0">
              <a:latin typeface="IBM Plex Sans Thin" panose="020B0203050203000203" pitchFamily="34" charset="0"/>
            </a:endParaRPr>
          </a:p>
        </p:txBody>
      </p:sp>
      <p:sp>
        <p:nvSpPr>
          <p:cNvPr id="3072" name="Textfeld 3071">
            <a:extLst>
              <a:ext uri="{FF2B5EF4-FFF2-40B4-BE49-F238E27FC236}">
                <a16:creationId xmlns:a16="http://schemas.microsoft.com/office/drawing/2014/main" id="{5102B90B-FC39-DB27-C13D-8FF651C59D0D}"/>
              </a:ext>
            </a:extLst>
          </p:cNvPr>
          <p:cNvSpPr txBox="1"/>
          <p:nvPr/>
        </p:nvSpPr>
        <p:spPr>
          <a:xfrm rot="16200000">
            <a:off x="841779" y="10398237"/>
            <a:ext cx="781949" cy="1015663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>
            <a:spAutoFit/>
          </a:bodyPr>
          <a:lstStyle/>
          <a:p>
            <a:r>
              <a:rPr kumimoji="0" lang="en-US" sz="6000" u="none" strike="noStrike" kern="1200" cap="none" spc="0" normalizeH="0" baseline="0" noProof="0" dirty="0">
                <a:ln>
                  <a:noFill/>
                </a:ln>
                <a:solidFill>
                  <a:srgbClr val="0F62FE"/>
                </a:solidFill>
                <a:effectLst/>
                <a:uLnTx/>
                <a:uFillTx/>
                <a:latin typeface="IBM Plex Sans Light" panose="020B0403050203000203" pitchFamily="34" charset="0"/>
              </a:rPr>
              <a:t>↓</a:t>
            </a:r>
            <a:endParaRPr lang="en-US" sz="6000" dirty="0"/>
          </a:p>
        </p:txBody>
      </p:sp>
      <p:sp>
        <p:nvSpPr>
          <p:cNvPr id="3073" name="Slide Number Placeholder 9">
            <a:extLst>
              <a:ext uri="{FF2B5EF4-FFF2-40B4-BE49-F238E27FC236}">
                <a16:creationId xmlns:a16="http://schemas.microsoft.com/office/drawing/2014/main" id="{4D77A810-EC80-BA2E-B784-2AED6C4AB22D}"/>
              </a:ext>
            </a:extLst>
          </p:cNvPr>
          <p:cNvSpPr txBox="1">
            <a:spLocks/>
          </p:cNvSpPr>
          <p:nvPr/>
        </p:nvSpPr>
        <p:spPr>
          <a:xfrm>
            <a:off x="23421475" y="12889286"/>
            <a:ext cx="438276" cy="31644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9196"/>
            <a:fld id="{86CB4B4D-7CA3-9044-876B-883B54F8677D}" type="slidenum">
              <a:rPr lang="en-US" sz="1600">
                <a:solidFill>
                  <a:srgbClr val="000000"/>
                </a:solidFill>
                <a:latin typeface="IBM Plex Sans" panose="020B0503050203000203" pitchFamily="34" charset="0"/>
              </a:rPr>
              <a:pPr defTabSz="1829196"/>
              <a:t>8</a:t>
            </a:fld>
            <a:endParaRPr lang="en-US" sz="1600" dirty="0">
              <a:solidFill>
                <a:srgbClr val="000000"/>
              </a:solidFill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199188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938053-7AE4-1773-B7D3-6CADB8C9C4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9">
            <a:extLst>
              <a:ext uri="{FF2B5EF4-FFF2-40B4-BE49-F238E27FC236}">
                <a16:creationId xmlns:a16="http://schemas.microsoft.com/office/drawing/2014/main" id="{D07FA79C-5382-7FF3-29DB-005636D2138B}"/>
              </a:ext>
            </a:extLst>
          </p:cNvPr>
          <p:cNvSpPr txBox="1">
            <a:spLocks/>
          </p:cNvSpPr>
          <p:nvPr/>
        </p:nvSpPr>
        <p:spPr>
          <a:xfrm>
            <a:off x="23421475" y="12889286"/>
            <a:ext cx="438276" cy="31644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9196"/>
            <a:fld id="{86CB4B4D-7CA3-9044-876B-883B54F8677D}" type="slidenum">
              <a:rPr lang="en-US" sz="1600">
                <a:solidFill>
                  <a:srgbClr val="000000"/>
                </a:solidFill>
                <a:latin typeface="IBM Plex Sans" panose="020B0503050203000203" pitchFamily="34" charset="0"/>
              </a:rPr>
              <a:pPr defTabSz="1829196"/>
              <a:t>9</a:t>
            </a:fld>
            <a:endParaRPr lang="en-US" sz="1600" dirty="0">
              <a:solidFill>
                <a:srgbClr val="000000"/>
              </a:solidFill>
              <a:latin typeface="IBM Plex Sans" panose="020B0503050203000203" pitchFamily="34" charset="0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47CD00B-F0F6-3F65-FE3B-9896F798C713}"/>
              </a:ext>
            </a:extLst>
          </p:cNvPr>
          <p:cNvSpPr txBox="1">
            <a:spLocks/>
          </p:cNvSpPr>
          <p:nvPr/>
        </p:nvSpPr>
        <p:spPr>
          <a:xfrm>
            <a:off x="576071" y="576072"/>
            <a:ext cx="19710023" cy="1020854"/>
          </a:xfrm>
          <a:prstGeom prst="rect">
            <a:avLst/>
          </a:prstGeom>
        </p:spPr>
        <p:txBody>
          <a:bodyPr/>
          <a:lstStyle>
            <a:lvl1pPr marL="0" marR="0" indent="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329184" marR="0" indent="-329184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58368" marR="0" indent="-329184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87552" marR="0" indent="-329184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143000" marR="0" indent="-457200" algn="l" defTabSz="2438400" rtl="0" eaLnBrk="1" latinLnBrk="0" hangingPunct="1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r>
              <a:rPr lang="en-US" sz="6000" kern="0" dirty="0">
                <a:solidFill>
                  <a:schemeClr val="accent1"/>
                </a:solidFill>
              </a:rPr>
              <a:t>Unleash AI Innovation: Your Challenge at Q-Hack '24</a:t>
            </a:r>
          </a:p>
        </p:txBody>
      </p:sp>
      <p:sp>
        <p:nvSpPr>
          <p:cNvPr id="8" name="Textfeld 1">
            <a:extLst>
              <a:ext uri="{FF2B5EF4-FFF2-40B4-BE49-F238E27FC236}">
                <a16:creationId xmlns:a16="http://schemas.microsoft.com/office/drawing/2014/main" id="{2276E9BE-8416-C8DF-1584-B5284DB0AC4E}"/>
              </a:ext>
            </a:extLst>
          </p:cNvPr>
          <p:cNvSpPr txBox="1"/>
          <p:nvPr/>
        </p:nvSpPr>
        <p:spPr>
          <a:xfrm>
            <a:off x="709768" y="1730276"/>
            <a:ext cx="23225303" cy="1020854"/>
          </a:xfrm>
          <a:prstGeom prst="round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3200" dirty="0">
                <a:solidFill>
                  <a:schemeClr val="accent1"/>
                </a:solidFill>
                <a:effectLst/>
                <a:latin typeface="IBM Plex Sans" panose="020B0503050203000203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he Challenge</a:t>
            </a:r>
            <a:endParaRPr lang="en-US" sz="2000" dirty="0">
              <a:solidFill>
                <a:schemeClr val="accent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EE5C3F43-DF88-4A6D-7F8E-EB6880B83A48}"/>
              </a:ext>
            </a:extLst>
          </p:cNvPr>
          <p:cNvSpPr txBox="1">
            <a:spLocks/>
          </p:cNvSpPr>
          <p:nvPr/>
        </p:nvSpPr>
        <p:spPr>
          <a:xfrm>
            <a:off x="575997" y="12800826"/>
            <a:ext cx="7152860" cy="3809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/>
              <a:t>IBM @ Q-Hack 24 / © 2024 IBM Corporation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1E84B59-DCCC-57FF-3DE6-3102CAFC6F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887050" y="14893"/>
            <a:ext cx="1403653" cy="2244437"/>
          </a:xfrm>
          <a:prstGeom prst="rect">
            <a:avLst/>
          </a:prstGeom>
        </p:spPr>
      </p:pic>
      <p:sp>
        <p:nvSpPr>
          <p:cNvPr id="4" name="Textfeld 42">
            <a:extLst>
              <a:ext uri="{FF2B5EF4-FFF2-40B4-BE49-F238E27FC236}">
                <a16:creationId xmlns:a16="http://schemas.microsoft.com/office/drawing/2014/main" id="{A997574D-1F8D-B191-AC1F-45EDC6923FDB}"/>
              </a:ext>
            </a:extLst>
          </p:cNvPr>
          <p:cNvSpPr txBox="1"/>
          <p:nvPr/>
        </p:nvSpPr>
        <p:spPr>
          <a:xfrm>
            <a:off x="792533" y="2649032"/>
            <a:ext cx="22656534" cy="20550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2438400" hangingPunct="0">
              <a:lnSpc>
                <a:spcPct val="150000"/>
              </a:lnSpc>
              <a:spcBef>
                <a:spcPts val="2900"/>
              </a:spcBef>
              <a:buSzPct val="100000"/>
              <a:defRPr/>
            </a:pPr>
            <a:r>
              <a:rPr lang="en-US" sz="3200" kern="0" dirty="0">
                <a:solidFill>
                  <a:srgbClr val="000000"/>
                </a:solidFill>
                <a:sym typeface="IBM Plex Sans Light"/>
              </a:rPr>
              <a:t>Artificial Intelligence for Evidence-Based Decision-Making in Public Spaces:</a:t>
            </a:r>
            <a:br>
              <a:rPr lang="en-US" sz="3200" kern="0" dirty="0">
                <a:solidFill>
                  <a:srgbClr val="000000"/>
                </a:solidFill>
                <a:sym typeface="IBM Plex Sans Light"/>
              </a:rPr>
            </a:br>
            <a:r>
              <a:rPr lang="en-US" sz="3200" kern="0" dirty="0">
                <a:solidFill>
                  <a:srgbClr val="000000"/>
                </a:solidFill>
                <a:sym typeface="IBM Plex Sans Light"/>
              </a:rPr>
              <a:t>Develop algorithms and models to analyze data from various sources to support informed decisions in policy areas such as healthcare, education, and environmental protection. </a:t>
            </a:r>
          </a:p>
        </p:txBody>
      </p:sp>
      <p:sp>
        <p:nvSpPr>
          <p:cNvPr id="9" name="Textfeld 1">
            <a:extLst>
              <a:ext uri="{FF2B5EF4-FFF2-40B4-BE49-F238E27FC236}">
                <a16:creationId xmlns:a16="http://schemas.microsoft.com/office/drawing/2014/main" id="{B5ADE391-9BD6-F515-F15F-C94247E643B8}"/>
              </a:ext>
            </a:extLst>
          </p:cNvPr>
          <p:cNvSpPr txBox="1"/>
          <p:nvPr/>
        </p:nvSpPr>
        <p:spPr>
          <a:xfrm>
            <a:off x="709768" y="4929447"/>
            <a:ext cx="10966961" cy="1020854"/>
          </a:xfrm>
          <a:prstGeom prst="round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3200" dirty="0">
                <a:solidFill>
                  <a:schemeClr val="accent1"/>
                </a:solidFill>
                <a:effectLst/>
                <a:latin typeface="IBM Plex Sans" panose="020B0503050203000203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utcome &amp; Deliverables</a:t>
            </a:r>
            <a:endParaRPr lang="en-US" sz="2000" dirty="0">
              <a:solidFill>
                <a:schemeClr val="accent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Textfeld 42">
            <a:extLst>
              <a:ext uri="{FF2B5EF4-FFF2-40B4-BE49-F238E27FC236}">
                <a16:creationId xmlns:a16="http://schemas.microsoft.com/office/drawing/2014/main" id="{DFF6C487-E6D3-CA6C-F38D-E91FF47572A6}"/>
              </a:ext>
            </a:extLst>
          </p:cNvPr>
          <p:cNvSpPr txBox="1"/>
          <p:nvPr/>
        </p:nvSpPr>
        <p:spPr>
          <a:xfrm>
            <a:off x="848017" y="6127938"/>
            <a:ext cx="10966961" cy="36160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2438400" hangingPunct="0">
              <a:spcBef>
                <a:spcPts val="1200"/>
              </a:spcBef>
              <a:buSzPct val="100000"/>
              <a:defRPr/>
            </a:pPr>
            <a:r>
              <a:rPr lang="en-US" sz="2000" b="1" kern="0" dirty="0">
                <a:solidFill>
                  <a:srgbClr val="000000"/>
                </a:solidFill>
                <a:latin typeface="IBM Plex Sans" panose="020B0503050203000203" pitchFamily="34" charset="0"/>
                <a:sym typeface="IBM Plex Sans Light"/>
              </a:rPr>
              <a:t>A Proof of Concept </a:t>
            </a:r>
            <a:r>
              <a:rPr lang="en-US" sz="2000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showcasing the feasibility of the solution and technologies applied.</a:t>
            </a:r>
          </a:p>
          <a:p>
            <a:pPr defTabSz="2438400" hangingPunct="0">
              <a:spcBef>
                <a:spcPts val="1200"/>
              </a:spcBef>
              <a:buSzPct val="100000"/>
              <a:defRPr/>
            </a:pPr>
            <a:r>
              <a:rPr lang="en-US" sz="2000" b="1" kern="0" dirty="0">
                <a:solidFill>
                  <a:srgbClr val="000000"/>
                </a:solidFill>
                <a:latin typeface="IBM Plex Sans" panose="020B0503050203000203" pitchFamily="34" charset="0"/>
                <a:sym typeface="IBM Plex Sans Light"/>
              </a:rPr>
              <a:t>A user-friendly interface </a:t>
            </a:r>
            <a:r>
              <a:rPr lang="en-US" sz="2000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tailored to a specific audience (Health, Environment, or Education).</a:t>
            </a:r>
          </a:p>
          <a:p>
            <a:pPr defTabSz="2438400" hangingPunct="0">
              <a:spcBef>
                <a:spcPts val="1200"/>
              </a:spcBef>
              <a:buSzPct val="100000"/>
              <a:defRPr/>
            </a:pPr>
            <a:r>
              <a:rPr lang="en-US" sz="2000" b="1" kern="0" dirty="0">
                <a:solidFill>
                  <a:srgbClr val="000000"/>
                </a:solidFill>
                <a:latin typeface="IBM Plex Sans" panose="020B0503050203000203" pitchFamily="34" charset="0"/>
                <a:sym typeface="IBM Plex Sans Light"/>
              </a:rPr>
              <a:t>A presentation deck </a:t>
            </a:r>
            <a:r>
              <a:rPr lang="en-US" sz="2000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that covers:</a:t>
            </a:r>
          </a:p>
          <a:p>
            <a:pPr marL="1371888" lvl="1" indent="-457200" defTabSz="2438400" hangingPunct="0">
              <a:spcBef>
                <a:spcPts val="1200"/>
              </a:spcBef>
              <a:buSzPct val="100000"/>
              <a:buFontTx/>
              <a:buChar char="-"/>
              <a:defRPr/>
            </a:pPr>
            <a:r>
              <a:rPr lang="en-US" sz="2000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The addressed issue and an overview of the proposed solution.</a:t>
            </a:r>
          </a:p>
          <a:p>
            <a:pPr marL="1371888" lvl="1" indent="-457200" defTabSz="2438400" hangingPunct="0">
              <a:spcBef>
                <a:spcPts val="1200"/>
              </a:spcBef>
              <a:buSzPct val="100000"/>
              <a:buFontTx/>
              <a:buChar char="-"/>
              <a:defRPr/>
            </a:pPr>
            <a:r>
              <a:rPr lang="en-US" sz="2000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A diagram illustrating the solution's architecture.</a:t>
            </a:r>
          </a:p>
          <a:p>
            <a:pPr marL="1371888" lvl="1" indent="-457200" defTabSz="2438400" hangingPunct="0">
              <a:spcBef>
                <a:spcPts val="1200"/>
              </a:spcBef>
              <a:buSzPct val="100000"/>
              <a:buFontTx/>
              <a:buChar char="-"/>
              <a:defRPr/>
            </a:pPr>
            <a:r>
              <a:rPr lang="en-US" sz="2000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A video recording showcasing a demo of the prototype.</a:t>
            </a:r>
          </a:p>
          <a:p>
            <a:pPr marL="1371888" lvl="1" indent="-457200" defTabSz="2438400" hangingPunct="0">
              <a:spcBef>
                <a:spcPts val="1200"/>
              </a:spcBef>
              <a:buSzPct val="100000"/>
              <a:buFontTx/>
              <a:buChar char="-"/>
              <a:defRPr/>
            </a:pPr>
            <a:r>
              <a:rPr lang="en-US" sz="2000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An evaluation of the solution's effectiveness and relevance.</a:t>
            </a:r>
          </a:p>
          <a:p>
            <a:pPr marL="1371888" lvl="1" indent="-457200" defTabSz="2438400" hangingPunct="0">
              <a:spcBef>
                <a:spcPts val="1200"/>
              </a:spcBef>
              <a:buSzPct val="100000"/>
              <a:buFontTx/>
              <a:buChar char="-"/>
              <a:defRPr/>
            </a:pPr>
            <a:r>
              <a:rPr lang="en-US" sz="2000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An outlook detailing how the solution could be scaled and further developed.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2FB0B989-7A91-2F43-5740-0913FB27A4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1380879"/>
              </p:ext>
            </p:extLst>
          </p:nvPr>
        </p:nvGraphicFramePr>
        <p:xfrm>
          <a:off x="12218863" y="6127938"/>
          <a:ext cx="11412162" cy="3535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97487">
                  <a:extLst>
                    <a:ext uri="{9D8B030D-6E8A-4147-A177-3AD203B41FA5}">
                      <a16:colId xmlns:a16="http://schemas.microsoft.com/office/drawing/2014/main" val="3327556825"/>
                    </a:ext>
                  </a:extLst>
                </a:gridCol>
                <a:gridCol w="5814675">
                  <a:extLst>
                    <a:ext uri="{9D8B030D-6E8A-4147-A177-3AD203B41FA5}">
                      <a16:colId xmlns:a16="http://schemas.microsoft.com/office/drawing/2014/main" val="421348994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2000" b="1" i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</a:rPr>
                        <a:t>Ideation / Design / Document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b="1" i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</a:rPr>
                        <a:t>Implementation</a:t>
                      </a:r>
                    </a:p>
                    <a:p>
                      <a:pPr algn="l"/>
                      <a:endParaRPr lang="en-US" sz="2000" b="1" i="0" dirty="0">
                        <a:solidFill>
                          <a:schemeClr val="tx1"/>
                        </a:solidFill>
                        <a:latin typeface="IBM Plex Sans" panose="020B0503050203000203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35924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42900" marR="0" lvl="0" indent="-342900" algn="l" defTabSz="1829287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Prototyping  </a:t>
                      </a:r>
                      <a:r>
                        <a:rPr lang="en-US" sz="2000" kern="0" dirty="0">
                          <a:solidFill>
                            <a:schemeClr val="tx1"/>
                          </a:solidFill>
                          <a:latin typeface="+mn-lt"/>
                          <a:sym typeface="IBM Plex Sans Light"/>
                        </a:rPr>
                        <a:t>(Figma, </a:t>
                      </a:r>
                      <a:r>
                        <a:rPr lang="en-US" sz="2000" kern="0" dirty="0" err="1">
                          <a:solidFill>
                            <a:schemeClr val="tx1"/>
                          </a:solidFill>
                          <a:latin typeface="+mn-lt"/>
                          <a:sym typeface="IBM Plex Sans Light"/>
                        </a:rPr>
                        <a:t>InVision</a:t>
                      </a:r>
                      <a:r>
                        <a:rPr lang="en-US" sz="2000" kern="0" dirty="0">
                          <a:solidFill>
                            <a:schemeClr val="tx1"/>
                          </a:solidFill>
                          <a:latin typeface="+mn-lt"/>
                          <a:sym typeface="IBM Plex Sans Light"/>
                        </a:rPr>
                        <a:t>, XD, …)</a:t>
                      </a:r>
                    </a:p>
                    <a:p>
                      <a:pPr marL="342900" marR="0" lvl="0" indent="-342900" algn="l" defTabSz="1829287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2000" kern="0" dirty="0">
                          <a:solidFill>
                            <a:schemeClr val="tx1"/>
                          </a:solidFill>
                          <a:latin typeface="+mn-lt"/>
                          <a:sym typeface="IBM Plex Sans Light"/>
                        </a:rPr>
                        <a:t>Diagrams (e.g. </a:t>
                      </a:r>
                      <a:r>
                        <a:rPr lang="en-US" sz="2000" kern="0" dirty="0" err="1">
                          <a:solidFill>
                            <a:schemeClr val="tx1"/>
                          </a:solidFill>
                          <a:latin typeface="+mn-lt"/>
                          <a:sym typeface="IBM Plex Sans Light"/>
                        </a:rPr>
                        <a:t>draw.io</a:t>
                      </a:r>
                      <a:r>
                        <a:rPr lang="en-US" sz="2000" kern="0" dirty="0">
                          <a:solidFill>
                            <a:schemeClr val="tx1"/>
                          </a:solidFill>
                          <a:latin typeface="+mn-lt"/>
                          <a:sym typeface="IBM Plex Sans Light"/>
                        </a:rPr>
                        <a:t>)</a:t>
                      </a:r>
                    </a:p>
                    <a:p>
                      <a:pPr algn="l">
                        <a:spcBef>
                          <a:spcPts val="1200"/>
                        </a:spcBef>
                      </a:pP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indent="-342900" algn="l">
                        <a:spcBef>
                          <a:spcPts val="1200"/>
                        </a:spcBef>
                        <a:buFontTx/>
                        <a:buChar char="-"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Large Language Models, Multi-Modal-Models</a:t>
                      </a:r>
                    </a:p>
                    <a:p>
                      <a:pPr marL="342900" marR="0" lvl="0" indent="-342900" algn="l" defTabSz="1829287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2000" kern="0" dirty="0">
                          <a:solidFill>
                            <a:srgbClr val="000000"/>
                          </a:solidFill>
                          <a:latin typeface="+mn-lt"/>
                          <a:sym typeface="IBM Plex Sans Light"/>
                        </a:rPr>
                        <a:t>Retrieval Augmented Generation, Embeddings, Semantic Search, Finetuning, </a:t>
                      </a:r>
                      <a:r>
                        <a:rPr lang="en-US" sz="2000" kern="0" dirty="0" err="1">
                          <a:solidFill>
                            <a:srgbClr val="000000"/>
                          </a:solidFill>
                          <a:latin typeface="+mn-lt"/>
                          <a:sym typeface="IBM Plex Sans Light"/>
                        </a:rPr>
                        <a:t>GenAI</a:t>
                      </a:r>
                      <a:r>
                        <a:rPr lang="en-US" sz="2000" kern="0" dirty="0">
                          <a:solidFill>
                            <a:srgbClr val="000000"/>
                          </a:solidFill>
                          <a:latin typeface="+mn-lt"/>
                          <a:sym typeface="IBM Plex Sans Light"/>
                        </a:rPr>
                        <a:t> + ML (hybrid approaches), Prompting</a:t>
                      </a:r>
                    </a:p>
                    <a:p>
                      <a:pPr marL="342900" marR="0" lvl="0" indent="-342900" algn="l" defTabSz="1829287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2000" kern="0" dirty="0">
                          <a:solidFill>
                            <a:srgbClr val="000000"/>
                          </a:solidFill>
                          <a:latin typeface="+mn-lt"/>
                          <a:sym typeface="IBM Plex Sans Light"/>
                        </a:rPr>
                        <a:t>Python, Pandas, </a:t>
                      </a:r>
                      <a:r>
                        <a:rPr lang="en-US" sz="2000" kern="0" dirty="0" err="1">
                          <a:solidFill>
                            <a:srgbClr val="000000"/>
                          </a:solidFill>
                          <a:latin typeface="+mn-lt"/>
                          <a:sym typeface="IBM Plex Sans Light"/>
                        </a:rPr>
                        <a:t>LangChain</a:t>
                      </a:r>
                      <a:endParaRPr lang="en-US" sz="2000" kern="0" dirty="0">
                        <a:solidFill>
                          <a:srgbClr val="000000"/>
                        </a:solidFill>
                        <a:latin typeface="+mn-lt"/>
                        <a:sym typeface="IBM Plex Sans Light"/>
                      </a:endParaRPr>
                    </a:p>
                    <a:p>
                      <a:pPr marL="342900" marR="0" lvl="0" indent="-342900" algn="l" defTabSz="1829287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2000" kern="0" dirty="0">
                          <a:solidFill>
                            <a:srgbClr val="000000"/>
                          </a:solidFill>
                          <a:latin typeface="+mn-lt"/>
                          <a:sym typeface="IBM Plex Sans Light"/>
                        </a:rPr>
                        <a:t>ML Pipelines, </a:t>
                      </a:r>
                      <a:r>
                        <a:rPr lang="en-US" sz="2000" kern="0" dirty="0" err="1">
                          <a:solidFill>
                            <a:srgbClr val="000000"/>
                          </a:solidFill>
                          <a:latin typeface="+mn-lt"/>
                          <a:sym typeface="IBM Plex Sans Light"/>
                        </a:rPr>
                        <a:t>MLOps</a:t>
                      </a:r>
                      <a:endParaRPr lang="en-US" sz="2000" kern="0" dirty="0">
                        <a:solidFill>
                          <a:srgbClr val="000000"/>
                        </a:solidFill>
                        <a:latin typeface="+mn-lt"/>
                        <a:sym typeface="IBM Plex Sans Light"/>
                      </a:endParaRPr>
                    </a:p>
                    <a:p>
                      <a:pPr marL="342900" indent="-342900" algn="l">
                        <a:spcBef>
                          <a:spcPts val="1200"/>
                        </a:spcBef>
                        <a:buFontTx/>
                        <a:buChar char="-"/>
                      </a:pP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2619765"/>
                  </a:ext>
                </a:extLst>
              </a:tr>
            </a:tbl>
          </a:graphicData>
        </a:graphic>
      </p:graphicFrame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8CBD837-38A8-A0A0-7815-AC62BC6BEB34}"/>
              </a:ext>
            </a:extLst>
          </p:cNvPr>
          <p:cNvCxnSpPr>
            <a:cxnSpLocks/>
          </p:cNvCxnSpPr>
          <p:nvPr/>
        </p:nvCxnSpPr>
        <p:spPr bwMode="auto">
          <a:xfrm>
            <a:off x="17366860" y="6335022"/>
            <a:ext cx="0" cy="2979174"/>
          </a:xfrm>
          <a:prstGeom prst="line">
            <a:avLst/>
          </a:prstGeom>
          <a:ln w="952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Textfeld 1">
            <a:extLst>
              <a:ext uri="{FF2B5EF4-FFF2-40B4-BE49-F238E27FC236}">
                <a16:creationId xmlns:a16="http://schemas.microsoft.com/office/drawing/2014/main" id="{C6841318-2923-2509-8BBE-8474244E1141}"/>
              </a:ext>
            </a:extLst>
          </p:cNvPr>
          <p:cNvSpPr txBox="1"/>
          <p:nvPr/>
        </p:nvSpPr>
        <p:spPr>
          <a:xfrm>
            <a:off x="580109" y="5950301"/>
            <a:ext cx="11234869" cy="3887907"/>
          </a:xfrm>
          <a:prstGeom prst="roundRect">
            <a:avLst>
              <a:gd name="adj" fmla="val 9938"/>
            </a:avLst>
          </a:prstGeom>
          <a:noFill/>
          <a:ln w="6350">
            <a:solidFill>
              <a:schemeClr val="accent1"/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000" dirty="0">
              <a:solidFill>
                <a:schemeClr val="accent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9" name="Textfeld 1">
            <a:extLst>
              <a:ext uri="{FF2B5EF4-FFF2-40B4-BE49-F238E27FC236}">
                <a16:creationId xmlns:a16="http://schemas.microsoft.com/office/drawing/2014/main" id="{792A8399-5684-CD5A-A4D5-B6F12B0B3024}"/>
              </a:ext>
            </a:extLst>
          </p:cNvPr>
          <p:cNvSpPr txBox="1"/>
          <p:nvPr/>
        </p:nvSpPr>
        <p:spPr>
          <a:xfrm flipV="1">
            <a:off x="580108" y="2681997"/>
            <a:ext cx="23218318" cy="2236373"/>
          </a:xfrm>
          <a:prstGeom prst="roundRect">
            <a:avLst>
              <a:gd name="adj" fmla="val 9938"/>
            </a:avLst>
          </a:prstGeom>
          <a:noFill/>
          <a:ln w="6350">
            <a:solidFill>
              <a:schemeClr val="accent1"/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000" dirty="0">
              <a:solidFill>
                <a:schemeClr val="accent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3" name="Textfeld 1">
            <a:extLst>
              <a:ext uri="{FF2B5EF4-FFF2-40B4-BE49-F238E27FC236}">
                <a16:creationId xmlns:a16="http://schemas.microsoft.com/office/drawing/2014/main" id="{DE8AED26-ACD5-7948-5327-21D90E7C1C65}"/>
              </a:ext>
            </a:extLst>
          </p:cNvPr>
          <p:cNvSpPr txBox="1"/>
          <p:nvPr/>
        </p:nvSpPr>
        <p:spPr>
          <a:xfrm>
            <a:off x="12374800" y="4929447"/>
            <a:ext cx="10966961" cy="1020854"/>
          </a:xfrm>
          <a:prstGeom prst="round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3200" dirty="0">
                <a:solidFill>
                  <a:schemeClr val="accent1"/>
                </a:solidFill>
                <a:effectLst/>
                <a:latin typeface="IBM Plex Sans" panose="020B0503050203000203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equirements</a:t>
            </a:r>
            <a:endParaRPr lang="en-US" sz="2000" dirty="0">
              <a:solidFill>
                <a:schemeClr val="accent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8" name="Textfeld 1">
            <a:extLst>
              <a:ext uri="{FF2B5EF4-FFF2-40B4-BE49-F238E27FC236}">
                <a16:creationId xmlns:a16="http://schemas.microsoft.com/office/drawing/2014/main" id="{F0EBD51A-B9D5-82AA-52D0-1D8348341E5B}"/>
              </a:ext>
            </a:extLst>
          </p:cNvPr>
          <p:cNvSpPr txBox="1"/>
          <p:nvPr/>
        </p:nvSpPr>
        <p:spPr>
          <a:xfrm>
            <a:off x="588749" y="10880018"/>
            <a:ext cx="23218317" cy="1653090"/>
          </a:xfrm>
          <a:prstGeom prst="roundRect">
            <a:avLst>
              <a:gd name="adj" fmla="val 9938"/>
            </a:avLst>
          </a:prstGeom>
          <a:noFill/>
          <a:ln w="6350">
            <a:solidFill>
              <a:schemeClr val="accent1"/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000" dirty="0">
              <a:solidFill>
                <a:schemeClr val="accent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9" name="Textfeld 1">
            <a:extLst>
              <a:ext uri="{FF2B5EF4-FFF2-40B4-BE49-F238E27FC236}">
                <a16:creationId xmlns:a16="http://schemas.microsoft.com/office/drawing/2014/main" id="{CB2F05B3-7FC0-BD08-5F7B-4372C70BE921}"/>
              </a:ext>
            </a:extLst>
          </p:cNvPr>
          <p:cNvSpPr txBox="1"/>
          <p:nvPr/>
        </p:nvSpPr>
        <p:spPr>
          <a:xfrm>
            <a:off x="709768" y="9861589"/>
            <a:ext cx="10966961" cy="1020854"/>
          </a:xfrm>
          <a:prstGeom prst="round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3200" dirty="0">
                <a:solidFill>
                  <a:schemeClr val="accent1"/>
                </a:solidFill>
                <a:effectLst/>
                <a:latin typeface="IBM Plex Sans" panose="020B0503050203000203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valuation criteria</a:t>
            </a:r>
            <a:endParaRPr lang="en-US" sz="2000" dirty="0">
              <a:solidFill>
                <a:schemeClr val="accent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47" name="Table 46">
            <a:extLst>
              <a:ext uri="{FF2B5EF4-FFF2-40B4-BE49-F238E27FC236}">
                <a16:creationId xmlns:a16="http://schemas.microsoft.com/office/drawing/2014/main" id="{B3FBE200-C85A-771F-4452-3F45B7502D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0220725"/>
              </p:ext>
            </p:extLst>
          </p:nvPr>
        </p:nvGraphicFramePr>
        <p:xfrm>
          <a:off x="2031626" y="11334911"/>
          <a:ext cx="22742404" cy="9001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23130">
                  <a:extLst>
                    <a:ext uri="{9D8B030D-6E8A-4147-A177-3AD203B41FA5}">
                      <a16:colId xmlns:a16="http://schemas.microsoft.com/office/drawing/2014/main" val="3327556825"/>
                    </a:ext>
                  </a:extLst>
                </a:gridCol>
                <a:gridCol w="3762363">
                  <a:extLst>
                    <a:ext uri="{9D8B030D-6E8A-4147-A177-3AD203B41FA5}">
                      <a16:colId xmlns:a16="http://schemas.microsoft.com/office/drawing/2014/main" val="4213489945"/>
                    </a:ext>
                  </a:extLst>
                </a:gridCol>
                <a:gridCol w="3811970">
                  <a:extLst>
                    <a:ext uri="{9D8B030D-6E8A-4147-A177-3AD203B41FA5}">
                      <a16:colId xmlns:a16="http://schemas.microsoft.com/office/drawing/2014/main" val="178599969"/>
                    </a:ext>
                  </a:extLst>
                </a:gridCol>
                <a:gridCol w="4156701">
                  <a:extLst>
                    <a:ext uri="{9D8B030D-6E8A-4147-A177-3AD203B41FA5}">
                      <a16:colId xmlns:a16="http://schemas.microsoft.com/office/drawing/2014/main" val="3138939349"/>
                    </a:ext>
                  </a:extLst>
                </a:gridCol>
                <a:gridCol w="3858217">
                  <a:extLst>
                    <a:ext uri="{9D8B030D-6E8A-4147-A177-3AD203B41FA5}">
                      <a16:colId xmlns:a16="http://schemas.microsoft.com/office/drawing/2014/main" val="3410333581"/>
                    </a:ext>
                  </a:extLst>
                </a:gridCol>
                <a:gridCol w="3630023">
                  <a:extLst>
                    <a:ext uri="{9D8B030D-6E8A-4147-A177-3AD203B41FA5}">
                      <a16:colId xmlns:a16="http://schemas.microsoft.com/office/drawing/2014/main" val="2166900042"/>
                    </a:ext>
                  </a:extLst>
                </a:gridCol>
              </a:tblGrid>
              <a:tr h="503948">
                <a:tc>
                  <a:txBody>
                    <a:bodyPr/>
                    <a:lstStyle/>
                    <a:p>
                      <a:pPr marL="360000" algn="l"/>
                      <a:r>
                        <a:rPr lang="en-US" sz="2000" b="1" i="0" dirty="0">
                          <a:solidFill>
                            <a:schemeClr val="tx1"/>
                          </a:solidFill>
                          <a:latin typeface="IBM Plex Sans Light" panose="020B0403050203000203" pitchFamily="34" charset="0"/>
                        </a:rPr>
                        <a:t>Creativi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60000" algn="l"/>
                      <a:r>
                        <a:rPr lang="en-US" sz="2000" b="1" i="0" dirty="0">
                          <a:solidFill>
                            <a:schemeClr val="tx1"/>
                          </a:solidFill>
                          <a:latin typeface="IBM Plex Sans Light" panose="020B0403050203000203" pitchFamily="34" charset="0"/>
                        </a:rPr>
                        <a:t>Relevanc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60000" algn="l"/>
                      <a:r>
                        <a:rPr lang="en-US" sz="2000" b="1" i="0" dirty="0">
                          <a:solidFill>
                            <a:schemeClr val="tx1"/>
                          </a:solidFill>
                          <a:latin typeface="IBM Plex Sans Light" panose="020B0403050203000203" pitchFamily="34" charset="0"/>
                        </a:rPr>
                        <a:t>Feasibili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60000" algn="l"/>
                      <a:r>
                        <a:rPr lang="en-US" sz="2000" b="1" i="0" dirty="0">
                          <a:solidFill>
                            <a:schemeClr val="tx1"/>
                          </a:solidFill>
                          <a:latin typeface="IBM Plex Sans Light" panose="020B0403050203000203" pitchFamily="34" charset="0"/>
                        </a:rPr>
                        <a:t>Implement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60000" algn="l"/>
                      <a:r>
                        <a:rPr lang="en-US" sz="2000" b="1" i="0" dirty="0">
                          <a:solidFill>
                            <a:schemeClr val="tx1"/>
                          </a:solidFill>
                          <a:latin typeface="IBM Plex Sans Light" panose="020B0403050203000203" pitchFamily="34" charset="0"/>
                        </a:rPr>
                        <a:t>Present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60000" algn="l"/>
                      <a:r>
                        <a:rPr lang="en-US" sz="2000" b="1" i="0" dirty="0">
                          <a:solidFill>
                            <a:schemeClr val="tx1"/>
                          </a:solidFill>
                          <a:latin typeface="IBM Plex Sans Light" panose="020B0403050203000203" pitchFamily="34" charset="0"/>
                        </a:rPr>
                        <a:t>Total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35924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60000" algn="l">
                        <a:spcBef>
                          <a:spcPts val="1200"/>
                        </a:spcBef>
                      </a:pPr>
                      <a:r>
                        <a:rPr lang="en-US" sz="2000" b="0" i="0" dirty="0">
                          <a:solidFill>
                            <a:schemeClr val="tx1"/>
                          </a:solidFill>
                          <a:latin typeface="IBM Plex Sans Light" panose="020B0403050203000203" pitchFamily="34" charset="0"/>
                        </a:rPr>
                        <a:t>0-5 Point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60000" indent="0" algn="l">
                        <a:spcBef>
                          <a:spcPts val="12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2000" b="0" i="0" dirty="0">
                          <a:solidFill>
                            <a:schemeClr val="tx1"/>
                          </a:solidFill>
                          <a:latin typeface="IBM Plex Sans Light" panose="020B0403050203000203" pitchFamily="34" charset="0"/>
                        </a:rPr>
                        <a:t>0-5 Point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60000" indent="0" algn="l">
                        <a:spcBef>
                          <a:spcPts val="1200"/>
                        </a:spcBef>
                        <a:buFontTx/>
                        <a:buNone/>
                      </a:pPr>
                      <a:r>
                        <a:rPr lang="en-US" sz="2000" b="0" i="0" dirty="0">
                          <a:solidFill>
                            <a:schemeClr val="tx1"/>
                          </a:solidFill>
                          <a:latin typeface="IBM Plex Sans Light" panose="020B0403050203000203" pitchFamily="34" charset="0"/>
                        </a:rPr>
                        <a:t>0-5 Point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60000" indent="0" algn="l">
                        <a:spcBef>
                          <a:spcPts val="1200"/>
                        </a:spcBef>
                        <a:buFontTx/>
                        <a:buNone/>
                      </a:pPr>
                      <a:r>
                        <a:rPr lang="en-US" sz="2000" b="0" i="0" dirty="0">
                          <a:solidFill>
                            <a:schemeClr val="tx1"/>
                          </a:solidFill>
                          <a:latin typeface="IBM Plex Sans Light" panose="020B0403050203000203" pitchFamily="34" charset="0"/>
                        </a:rPr>
                        <a:t>0-5 Point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60000" indent="0" algn="l">
                        <a:spcBef>
                          <a:spcPts val="1200"/>
                        </a:spcBef>
                        <a:buFontTx/>
                        <a:buNone/>
                      </a:pPr>
                      <a:r>
                        <a:rPr lang="en-US" sz="2000" b="0" i="0" dirty="0">
                          <a:solidFill>
                            <a:schemeClr val="tx1"/>
                          </a:solidFill>
                          <a:latin typeface="IBM Plex Sans Light" panose="020B0403050203000203" pitchFamily="34" charset="0"/>
                        </a:rPr>
                        <a:t>0-5 Point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60000" indent="0" algn="l">
                        <a:spcBef>
                          <a:spcPts val="1200"/>
                        </a:spcBef>
                        <a:buFontTx/>
                        <a:buNone/>
                      </a:pPr>
                      <a:r>
                        <a:rPr lang="en-US" sz="2000" b="0" i="0" dirty="0">
                          <a:solidFill>
                            <a:schemeClr val="tx1"/>
                          </a:solidFill>
                          <a:latin typeface="IBM Plex Sans Light" panose="020B0403050203000203" pitchFamily="34" charset="0"/>
                        </a:rPr>
                        <a:t>0-25 Point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2619765"/>
                  </a:ext>
                </a:extLst>
              </a:tr>
            </a:tbl>
          </a:graphicData>
        </a:graphic>
      </p:graphicFrame>
      <p:pic>
        <p:nvPicPr>
          <p:cNvPr id="68" name="Graphic 67">
            <a:extLst>
              <a:ext uri="{FF2B5EF4-FFF2-40B4-BE49-F238E27FC236}">
                <a16:creationId xmlns:a16="http://schemas.microsoft.com/office/drawing/2014/main" id="{A4B8EE56-786F-DA86-9574-91D008F856E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776607" y="11357405"/>
            <a:ext cx="795716" cy="795716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:a16="http://schemas.microsoft.com/office/drawing/2014/main" id="{26924439-5817-9E0E-589C-8F151C52066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688323" y="11351402"/>
            <a:ext cx="900188" cy="900188"/>
          </a:xfrm>
          <a:prstGeom prst="rect">
            <a:avLst/>
          </a:prstGeom>
        </p:spPr>
      </p:pic>
      <p:pic>
        <p:nvPicPr>
          <p:cNvPr id="72" name="Graphic 71">
            <a:extLst>
              <a:ext uri="{FF2B5EF4-FFF2-40B4-BE49-F238E27FC236}">
                <a16:creationId xmlns:a16="http://schemas.microsoft.com/office/drawing/2014/main" id="{6148C64F-37EC-A46C-7F40-B3EAEF77221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0532597" y="11361674"/>
            <a:ext cx="900188" cy="900188"/>
          </a:xfrm>
          <a:prstGeom prst="rect">
            <a:avLst/>
          </a:prstGeom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E15FB909-93FD-1E5E-EEF3-25396EA95BC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2576656" y="11357404"/>
            <a:ext cx="844973" cy="844973"/>
          </a:xfrm>
          <a:prstGeom prst="rect">
            <a:avLst/>
          </a:prstGeom>
        </p:spPr>
      </p:pic>
      <p:pic>
        <p:nvPicPr>
          <p:cNvPr id="76" name="Graphic 75">
            <a:extLst>
              <a:ext uri="{FF2B5EF4-FFF2-40B4-BE49-F238E27FC236}">
                <a16:creationId xmlns:a16="http://schemas.microsoft.com/office/drawing/2014/main" id="{C1E3D389-072B-ADFC-6E52-B8AC23CD767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969145" y="11279056"/>
            <a:ext cx="893115" cy="893115"/>
          </a:xfrm>
          <a:prstGeom prst="rect">
            <a:avLst/>
          </a:prstGeom>
        </p:spPr>
      </p:pic>
      <p:pic>
        <p:nvPicPr>
          <p:cNvPr id="78" name="Graphic 77">
            <a:extLst>
              <a:ext uri="{FF2B5EF4-FFF2-40B4-BE49-F238E27FC236}">
                <a16:creationId xmlns:a16="http://schemas.microsoft.com/office/drawing/2014/main" id="{B86DBDCE-63C5-3038-C9EA-7D7801FAF9F7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452297" y="11346248"/>
            <a:ext cx="844973" cy="844973"/>
          </a:xfrm>
          <a:prstGeom prst="rect">
            <a:avLst/>
          </a:prstGeom>
        </p:spPr>
      </p:pic>
      <p:sp>
        <p:nvSpPr>
          <p:cNvPr id="5" name="Textfeld 1">
            <a:extLst>
              <a:ext uri="{FF2B5EF4-FFF2-40B4-BE49-F238E27FC236}">
                <a16:creationId xmlns:a16="http://schemas.microsoft.com/office/drawing/2014/main" id="{98B04042-479E-2FC3-3E5D-EC5835526679}"/>
              </a:ext>
            </a:extLst>
          </p:cNvPr>
          <p:cNvSpPr txBox="1"/>
          <p:nvPr/>
        </p:nvSpPr>
        <p:spPr>
          <a:xfrm>
            <a:off x="11968412" y="5950301"/>
            <a:ext cx="11830014" cy="3887907"/>
          </a:xfrm>
          <a:prstGeom prst="roundRect">
            <a:avLst>
              <a:gd name="adj" fmla="val 9938"/>
            </a:avLst>
          </a:prstGeom>
          <a:noFill/>
          <a:ln w="6350">
            <a:solidFill>
              <a:schemeClr val="accent1"/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000" dirty="0">
              <a:solidFill>
                <a:schemeClr val="accent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4736507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BM presentation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="" xmlns:m="http://schemas.openxmlformats.org/officeDocument/2006/math" xmlns:a14="http://schemas.microsoft.com/office/drawing/2010/main" xmlns:ma14="http://schemas.microsoft.com/office/mac/drawingml/2011/main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230308_IBM_Consulting_presentation_brand_covers_v_1_3_Plex_LS" id="{04273015-B0D0-D845-8E2C-73FBAC976F11}" vid="{89916D4A-0865-B147-9BD1-1C5B9EB9EF74}"/>
    </a:ext>
  </a:extLst>
</a:theme>
</file>

<file path=ppt/theme/theme2.xml><?xml version="1.0" encoding="utf-8"?>
<a:theme xmlns:a="http://schemas.openxmlformats.org/drawingml/2006/main" name="1_IBM presentation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="" xmlns:m="http://schemas.openxmlformats.org/officeDocument/2006/math" xmlns:a14="http://schemas.microsoft.com/office/drawing/2010/main" xmlns:ma14="http://schemas.microsoft.com/office/mac/drawingml/2011/main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presentation_template_v_1_4_Plex" id="{CD0C5817-EB6A-6C46-8403-24AD582CFD03}" vid="{BF9B21BA-71C2-5045-909D-55899A1DBA68}"/>
    </a:ext>
  </a:extLst>
</a:theme>
</file>

<file path=ppt/theme/theme3.xml><?xml version="1.0" encoding="utf-8"?>
<a:theme xmlns:a="http://schemas.openxmlformats.org/drawingml/2006/main" name="1_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Presentation12" id="{6A5C3108-4307-9943-A664-E23CFC3D8C11}" vid="{518A1561-6139-BA45-83F4-467FF76E495D}"/>
    </a:ext>
  </a:extLst>
</a:theme>
</file>

<file path=ppt/theme/theme4.xml><?xml version="1.0" encoding="utf-8"?>
<a:theme xmlns:a="http://schemas.openxmlformats.org/drawingml/2006/main" name="IBMC_Blue">
  <a:themeElements>
    <a:clrScheme name="Custom 24">
      <a:dk1>
        <a:srgbClr val="000000"/>
      </a:dk1>
      <a:lt1>
        <a:srgbClr val="002D9C"/>
      </a:lt1>
      <a:dk2>
        <a:srgbClr val="B9E5FE"/>
      </a:dk2>
      <a:lt2>
        <a:srgbClr val="FFFFFF"/>
      </a:lt2>
      <a:accent1>
        <a:srgbClr val="0E62FE"/>
      </a:accent1>
      <a:accent2>
        <a:srgbClr val="FE8289"/>
      </a:accent2>
      <a:accent3>
        <a:srgbClr val="FFD7D9"/>
      </a:accent3>
      <a:accent4>
        <a:srgbClr val="FCDB69"/>
      </a:accent4>
      <a:accent5>
        <a:srgbClr val="6FDC8B"/>
      </a:accent5>
      <a:accent6>
        <a:srgbClr val="0BBCBA"/>
      </a:accent6>
      <a:hlink>
        <a:srgbClr val="0F6DFF"/>
      </a:hlink>
      <a:folHlink>
        <a:srgbClr val="ACA7A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noAutofit/>
      </a:bodyPr>
      <a:lstStyle>
        <a:defPPr>
          <a:lnSpc>
            <a:spcPct val="105000"/>
          </a:lnSpc>
          <a:spcBef>
            <a:spcPts val="1000"/>
          </a:spcBef>
          <a:defRPr sz="2000" dirty="0" err="1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BM Consulting EMEA PowerPoint Template_June 2022" id="{FE695730-1479-BA45-8351-00B724AE0B2A}" vid="{3C26AB11-1ABB-784C-83DD-CED36D39459F}"/>
    </a:ext>
  </a:extLst>
</a:theme>
</file>

<file path=ppt/theme/theme5.xml><?xml version="1.0" encoding="utf-8"?>
<a:theme xmlns:a="http://schemas.openxmlformats.org/drawingml/2006/main" name="2_IBM presentation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ma14="http://schemas.microsoft.com/office/mac/drawingml/2011/main" xmlns:a14="http://schemas.microsoft.com/office/drawing/2010/main" xmlns:m="http://schemas.openxmlformats.org/officeDocument/2006/math" xmlns="" xmlns:p="http://schemas.openxmlformats.org/presentationml/2006/main" xmlns:r="http://schemas.openxmlformats.org/officeDocument/2006/relationships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presentation_template_v_1_4_Plex" id="{CD0C5817-EB6A-6C46-8403-24AD582CFD03}" vid="{BF9B21BA-71C2-5045-909D-55899A1DBA68}"/>
    </a:ext>
  </a:extLst>
</a:theme>
</file>

<file path=ppt/theme/theme6.xml><?xml version="1.0" encoding="utf-8"?>
<a:theme xmlns:a="http://schemas.openxmlformats.org/drawingml/2006/main" name="3_IBM presentation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ma14="http://schemas.microsoft.com/office/mac/drawingml/2011/main" xmlns:a14="http://schemas.microsoft.com/office/drawing/2010/main" xmlns:m="http://schemas.openxmlformats.org/officeDocument/2006/math" xmlns="" xmlns:p="http://schemas.openxmlformats.org/presentationml/2006/main" xmlns:r="http://schemas.openxmlformats.org/officeDocument/2006/relationships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presentation_template_v_1_4_Plex" id="{CD0C5817-EB6A-6C46-8403-24AD582CFD03}" vid="{BF9B21BA-71C2-5045-909D-55899A1DBA68}"/>
    </a:ext>
  </a:extLst>
</a:theme>
</file>

<file path=ppt/theme/theme7.xml><?xml version="1.0" encoding="utf-8"?>
<a:theme xmlns:a="http://schemas.openxmlformats.org/drawingml/2006/main" name="4_IBM presentation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="" xmlns:m="http://schemas.openxmlformats.org/officeDocument/2006/math" xmlns:a14="http://schemas.microsoft.com/office/drawing/2010/main" xmlns:ma14="http://schemas.microsoft.com/office/mac/drawingml/2011/main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presentation_template_v_1_4_Plex" id="{CD0C5817-EB6A-6C46-8403-24AD582CFD03}" vid="{BF9B21BA-71C2-5045-909D-55899A1DBA68}"/>
    </a:ext>
  </a:extLst>
</a:theme>
</file>

<file path=ppt/theme/theme8.xml><?xml version="1.0" encoding="utf-8"?>
<a:theme xmlns:a="http://schemas.openxmlformats.org/drawingml/2006/main" name="IBM Brand Template 2022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ma14="http://schemas.microsoft.com/office/mac/drawingml/2011/main" xmlns:a14="http://schemas.microsoft.com/office/drawing/2010/main" xmlns:m="http://schemas.openxmlformats.org/officeDocument/2006/math" xmlns="" xmlns:p="http://schemas.openxmlformats.org/presentationml/2006/main" xmlns:r="http://schemas.openxmlformats.org/officeDocument/2006/relationships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Master_Presentation_2021_V01_Plex" id="{BD398A2B-0B96-D843-9A4A-05239798B6A1}" vid="{46683C84-C800-D441-9101-471717108C97}"/>
    </a:ext>
  </a:extLst>
</a:theme>
</file>

<file path=ppt/theme/theme9.xml><?xml version="1.0" encoding="utf-8"?>
<a:theme xmlns:a="http://schemas.openxmlformats.org/drawingml/2006/main" name="IBM Brand Template 2022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ma14="http://schemas.microsoft.com/office/mac/drawingml/2011/main" xmlns:a14="http://schemas.microsoft.com/office/drawing/2010/main" xmlns:m="http://schemas.openxmlformats.org/officeDocument/2006/math" xmlns="" xmlns:p="http://schemas.openxmlformats.org/presentationml/2006/main" xmlns:r="http://schemas.openxmlformats.org/officeDocument/2006/relationships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Master_Presentation_2021_V01_Plex" id="{BD398A2B-0B96-D843-9A4A-05239798B6A1}" vid="{46683C84-C800-D441-9101-471717108C9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BM presentation template</Template>
  <TotalTime>0</TotalTime>
  <Words>1173</Words>
  <Application>Microsoft Macintosh PowerPoint</Application>
  <PresentationFormat>Benutzerdefiniert</PresentationFormat>
  <Paragraphs>262</Paragraphs>
  <Slides>11</Slides>
  <Notes>1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3</vt:i4>
      </vt:variant>
      <vt:variant>
        <vt:lpstr>Design</vt:lpstr>
      </vt:variant>
      <vt:variant>
        <vt:i4>7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32" baseType="lpstr">
      <vt:lpstr>IBM Plex Sans Light</vt:lpstr>
      <vt:lpstr>IBM Plex Sans SmBld</vt:lpstr>
      <vt:lpstr>Calibri</vt:lpstr>
      <vt:lpstr>IBM Plex Sans Thin</vt:lpstr>
      <vt:lpstr>LucidaGrande</vt:lpstr>
      <vt:lpstr>Aptos</vt:lpstr>
      <vt:lpstr>.AppleSystemUIFont</vt:lpstr>
      <vt:lpstr>Arial</vt:lpstr>
      <vt:lpstr>IBM Plex Sans</vt:lpstr>
      <vt:lpstr>IBM Plex Sans ExtLt</vt:lpstr>
      <vt:lpstr>IBM Plex Sans Medm</vt:lpstr>
      <vt:lpstr>IBM Plex Sans Text</vt:lpstr>
      <vt:lpstr>System Font Regular</vt:lpstr>
      <vt:lpstr>IBM presentation template</vt:lpstr>
      <vt:lpstr>1_IBM presentation template</vt:lpstr>
      <vt:lpstr>1_IBM Brand Template 2022</vt:lpstr>
      <vt:lpstr>IBMC_Blue</vt:lpstr>
      <vt:lpstr>2_IBM presentation template</vt:lpstr>
      <vt:lpstr>3_IBM presentation template</vt:lpstr>
      <vt:lpstr>4_IBM presentation template</vt:lpstr>
      <vt:lpstr>think-cell Slide</vt:lpstr>
      <vt:lpstr>Possibility. Curiosity. Individuality. </vt:lpstr>
      <vt:lpstr>PowerPoint-Präsentation</vt:lpstr>
      <vt:lpstr>Today, IBM is the only company bringing together innovative technology and consulting services, backed by  strong research expertise in our strategic technologies, </vt:lpstr>
      <vt:lpstr>PowerPoint-Präsentation</vt:lpstr>
      <vt:lpstr>You find IBM at 25 locations in Germany, Austria and Switzerland, including data, research and development centers. </vt:lpstr>
      <vt:lpstr>Start your career @ IBM</vt:lpstr>
      <vt:lpstr> </vt:lpstr>
      <vt:lpstr>Learn more about (Gen)AI and get your hands on</vt:lpstr>
      <vt:lpstr>PowerPoint-Präsentation</vt:lpstr>
      <vt:lpstr>Let’s stay connected.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s  Sample layouts</dc:title>
  <dc:subject/>
  <dc:creator>Peggy Benson</dc:creator>
  <cp:keywords/>
  <dc:description/>
  <cp:lastModifiedBy>Philipp Bohlen</cp:lastModifiedBy>
  <cp:revision>106</cp:revision>
  <cp:lastPrinted>2019-04-25T15:14:05Z</cp:lastPrinted>
  <dcterms:created xsi:type="dcterms:W3CDTF">2023-03-10T18:14:41Z</dcterms:created>
  <dcterms:modified xsi:type="dcterms:W3CDTF">2024-04-02T14:36:20Z</dcterms:modified>
  <cp:category/>
</cp:coreProperties>
</file>